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6"/>
  </p:notesMasterIdLst>
  <p:sldIdLst>
    <p:sldId id="258" r:id="rId5"/>
    <p:sldId id="259" r:id="rId6"/>
    <p:sldId id="2147482986" r:id="rId7"/>
    <p:sldId id="260" r:id="rId8"/>
    <p:sldId id="7903" r:id="rId9"/>
    <p:sldId id="279" r:id="rId10"/>
    <p:sldId id="2147482960" r:id="rId11"/>
    <p:sldId id="2147482985" r:id="rId12"/>
    <p:sldId id="2147482989" r:id="rId13"/>
    <p:sldId id="2147482988" r:id="rId14"/>
    <p:sldId id="2147482987" r:id="rId15"/>
    <p:sldId id="2147482990" r:id="rId16"/>
    <p:sldId id="2147482991" r:id="rId17"/>
    <p:sldId id="2147482993" r:id="rId18"/>
    <p:sldId id="2147482994" r:id="rId19"/>
    <p:sldId id="2147482995" r:id="rId20"/>
    <p:sldId id="2147482996" r:id="rId21"/>
    <p:sldId id="2147482997" r:id="rId22"/>
    <p:sldId id="2147482899" r:id="rId23"/>
    <p:sldId id="267" r:id="rId24"/>
    <p:sldId id="214748297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F38720-FD58-4F57-81BD-0DB8D7A4841D}" v="3" dt="2025-05-14T14:31:58.8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umide Olaolu Okunola" userId="f5de26f8-579f-49e5-ab93-66a8de36542b" providerId="ADAL" clId="{23EBDD9C-73C4-4743-A867-99E6BDEEEA94}"/>
    <pc:docChg chg="undo custSel addSld delSld modSld">
      <pc:chgData name="Olumide Olaolu Okunola" userId="f5de26f8-579f-49e5-ab93-66a8de36542b" providerId="ADAL" clId="{23EBDD9C-73C4-4743-A867-99E6BDEEEA94}" dt="2025-04-12T14:29:11.247" v="1285"/>
      <pc:docMkLst>
        <pc:docMk/>
      </pc:docMkLst>
      <pc:sldChg chg="modSp mod">
        <pc:chgData name="Olumide Olaolu Okunola" userId="f5de26f8-579f-49e5-ab93-66a8de36542b" providerId="ADAL" clId="{23EBDD9C-73C4-4743-A867-99E6BDEEEA94}" dt="2025-04-07T13:28:00.180" v="655" actId="255"/>
        <pc:sldMkLst>
          <pc:docMk/>
          <pc:sldMk cId="980224117" sldId="258"/>
        </pc:sldMkLst>
        <pc:spChg chg="mod">
          <ac:chgData name="Olumide Olaolu Okunola" userId="f5de26f8-579f-49e5-ab93-66a8de36542b" providerId="ADAL" clId="{23EBDD9C-73C4-4743-A867-99E6BDEEEA94}" dt="2025-04-07T13:28:00.180" v="655" actId="255"/>
          <ac:spMkLst>
            <pc:docMk/>
            <pc:sldMk cId="980224117" sldId="258"/>
            <ac:spMk id="3" creationId="{D23FD7E0-80F6-3FF9-CCD3-600F88921FC5}"/>
          </ac:spMkLst>
        </pc:spChg>
      </pc:sldChg>
      <pc:sldChg chg="addSp modSp add mod modClrScheme chgLayout">
        <pc:chgData name="Olumide Olaolu Okunola" userId="f5de26f8-579f-49e5-ab93-66a8de36542b" providerId="ADAL" clId="{23EBDD9C-73C4-4743-A867-99E6BDEEEA94}" dt="2025-04-09T13:39:00.703" v="1283" actId="20577"/>
        <pc:sldMkLst>
          <pc:docMk/>
          <pc:sldMk cId="3894631256" sldId="2147482899"/>
        </pc:sldMkLst>
        <pc:spChg chg="add mod">
          <ac:chgData name="Olumide Olaolu Okunola" userId="f5de26f8-579f-49e5-ab93-66a8de36542b" providerId="ADAL" clId="{23EBDD9C-73C4-4743-A867-99E6BDEEEA94}" dt="2025-04-09T13:39:00.703" v="1283" actId="20577"/>
          <ac:spMkLst>
            <pc:docMk/>
            <pc:sldMk cId="3894631256" sldId="2147482899"/>
            <ac:spMk id="8" creationId="{A7F45D0C-CA7E-07B0-2711-CA43E1DD1C72}"/>
          </ac:spMkLst>
        </pc:spChg>
        <pc:picChg chg="mod">
          <ac:chgData name="Olumide Olaolu Okunola" userId="f5de26f8-579f-49e5-ab93-66a8de36542b" providerId="ADAL" clId="{23EBDD9C-73C4-4743-A867-99E6BDEEEA94}" dt="2025-04-07T14:10:32.939" v="922" actId="26606"/>
          <ac:picMkLst>
            <pc:docMk/>
            <pc:sldMk cId="3894631256" sldId="2147482899"/>
            <ac:picMk id="3" creationId="{253B2A3E-8ECD-0E32-6890-74CF78F4A649}"/>
          </ac:picMkLst>
        </pc:picChg>
      </pc:sldChg>
      <pc:sldChg chg="add">
        <pc:chgData name="Olumide Olaolu Okunola" userId="f5de26f8-579f-49e5-ab93-66a8de36542b" providerId="ADAL" clId="{23EBDD9C-73C4-4743-A867-99E6BDEEEA94}" dt="2025-04-12T14:29:11.247" v="1285"/>
        <pc:sldMkLst>
          <pc:docMk/>
          <pc:sldMk cId="4030902912" sldId="2147482976"/>
        </pc:sldMkLst>
      </pc:sldChg>
      <pc:sldChg chg="modSp mod">
        <pc:chgData name="Olumide Olaolu Okunola" userId="f5de26f8-579f-49e5-ab93-66a8de36542b" providerId="ADAL" clId="{23EBDD9C-73C4-4743-A867-99E6BDEEEA94}" dt="2025-04-07T09:01:56.237" v="76" actId="20577"/>
        <pc:sldMkLst>
          <pc:docMk/>
          <pc:sldMk cId="3285379636" sldId="2147482987"/>
        </pc:sldMkLst>
        <pc:spChg chg="mod">
          <ac:chgData name="Olumide Olaolu Okunola" userId="f5de26f8-579f-49e5-ab93-66a8de36542b" providerId="ADAL" clId="{23EBDD9C-73C4-4743-A867-99E6BDEEEA94}" dt="2025-04-07T09:01:56.237" v="76" actId="20577"/>
          <ac:spMkLst>
            <pc:docMk/>
            <pc:sldMk cId="3285379636" sldId="2147482987"/>
            <ac:spMk id="13" creationId="{1F52D2F1-5286-65EB-2F4E-2F75AF645005}"/>
          </ac:spMkLst>
        </pc:spChg>
      </pc:sldChg>
      <pc:sldChg chg="modSp mod">
        <pc:chgData name="Olumide Olaolu Okunola" userId="f5de26f8-579f-49e5-ab93-66a8de36542b" providerId="ADAL" clId="{23EBDD9C-73C4-4743-A867-99E6BDEEEA94}" dt="2025-04-07T09:01:30.118" v="67" actId="20577"/>
        <pc:sldMkLst>
          <pc:docMk/>
          <pc:sldMk cId="222364639" sldId="2147482988"/>
        </pc:sldMkLst>
        <pc:spChg chg="mod">
          <ac:chgData name="Olumide Olaolu Okunola" userId="f5de26f8-579f-49e5-ab93-66a8de36542b" providerId="ADAL" clId="{23EBDD9C-73C4-4743-A867-99E6BDEEEA94}" dt="2025-04-07T09:01:30.118" v="67" actId="20577"/>
          <ac:spMkLst>
            <pc:docMk/>
            <pc:sldMk cId="222364639" sldId="2147482988"/>
            <ac:spMk id="2" creationId="{07346B13-D33D-FE51-0BDC-0BA8D481A651}"/>
          </ac:spMkLst>
        </pc:spChg>
      </pc:sldChg>
      <pc:sldChg chg="modSp mod">
        <pc:chgData name="Olumide Olaolu Okunola" userId="f5de26f8-579f-49e5-ab93-66a8de36542b" providerId="ADAL" clId="{23EBDD9C-73C4-4743-A867-99E6BDEEEA94}" dt="2025-04-07T09:00:55.895" v="57" actId="207"/>
        <pc:sldMkLst>
          <pc:docMk/>
          <pc:sldMk cId="682729964" sldId="2147482989"/>
        </pc:sldMkLst>
        <pc:spChg chg="mod">
          <ac:chgData name="Olumide Olaolu Okunola" userId="f5de26f8-579f-49e5-ab93-66a8de36542b" providerId="ADAL" clId="{23EBDD9C-73C4-4743-A867-99E6BDEEEA94}" dt="2025-04-07T09:00:55.895" v="57" actId="207"/>
          <ac:spMkLst>
            <pc:docMk/>
            <pc:sldMk cId="682729964" sldId="2147482989"/>
            <ac:spMk id="3" creationId="{86543107-8EC8-65E8-61B5-053A028DF12A}"/>
          </ac:spMkLst>
        </pc:spChg>
      </pc:sldChg>
      <pc:sldChg chg="modSp mod">
        <pc:chgData name="Olumide Olaolu Okunola" userId="f5de26f8-579f-49e5-ab93-66a8de36542b" providerId="ADAL" clId="{23EBDD9C-73C4-4743-A867-99E6BDEEEA94}" dt="2025-04-09T13:37:19.787" v="1171" actId="20577"/>
        <pc:sldMkLst>
          <pc:docMk/>
          <pc:sldMk cId="612808233" sldId="2147482990"/>
        </pc:sldMkLst>
        <pc:spChg chg="mod">
          <ac:chgData name="Olumide Olaolu Okunola" userId="f5de26f8-579f-49e5-ab93-66a8de36542b" providerId="ADAL" clId="{23EBDD9C-73C4-4743-A867-99E6BDEEEA94}" dt="2025-04-07T09:02:34.042" v="87" actId="14100"/>
          <ac:spMkLst>
            <pc:docMk/>
            <pc:sldMk cId="612808233" sldId="2147482990"/>
            <ac:spMk id="4" creationId="{619D839D-E806-33FF-84C8-8BDC293DB3C3}"/>
          </ac:spMkLst>
        </pc:spChg>
        <pc:spChg chg="mod">
          <ac:chgData name="Olumide Olaolu Okunola" userId="f5de26f8-579f-49e5-ab93-66a8de36542b" providerId="ADAL" clId="{23EBDD9C-73C4-4743-A867-99E6BDEEEA94}" dt="2025-04-07T13:51:57.442" v="840" actId="13926"/>
          <ac:spMkLst>
            <pc:docMk/>
            <pc:sldMk cId="612808233" sldId="2147482990"/>
            <ac:spMk id="10" creationId="{C1B61484-FA7C-B6EC-F76B-9617650E02A7}"/>
          </ac:spMkLst>
        </pc:spChg>
        <pc:spChg chg="mod">
          <ac:chgData name="Olumide Olaolu Okunola" userId="f5de26f8-579f-49e5-ab93-66a8de36542b" providerId="ADAL" clId="{23EBDD9C-73C4-4743-A867-99E6BDEEEA94}" dt="2025-04-09T13:37:19.787" v="1171" actId="20577"/>
          <ac:spMkLst>
            <pc:docMk/>
            <pc:sldMk cId="612808233" sldId="2147482990"/>
            <ac:spMk id="13" creationId="{AE5CE414-09AC-05DC-A283-8975120E0BB1}"/>
          </ac:spMkLst>
        </pc:spChg>
        <pc:picChg chg="mod">
          <ac:chgData name="Olumide Olaolu Okunola" userId="f5de26f8-579f-49e5-ab93-66a8de36542b" providerId="ADAL" clId="{23EBDD9C-73C4-4743-A867-99E6BDEEEA94}" dt="2025-04-09T13:36:56.389" v="1154" actId="167"/>
          <ac:picMkLst>
            <pc:docMk/>
            <pc:sldMk cId="612808233" sldId="2147482990"/>
            <ac:picMk id="5" creationId="{82D49FDF-2512-308C-1548-68CB8B896B68}"/>
          </ac:picMkLst>
        </pc:picChg>
      </pc:sldChg>
      <pc:sldChg chg="modSp mod">
        <pc:chgData name="Olumide Olaolu Okunola" userId="f5de26f8-579f-49e5-ab93-66a8de36542b" providerId="ADAL" clId="{23EBDD9C-73C4-4743-A867-99E6BDEEEA94}" dt="2025-04-07T09:03:22.901" v="110" actId="207"/>
        <pc:sldMkLst>
          <pc:docMk/>
          <pc:sldMk cId="205337786" sldId="2147482991"/>
        </pc:sldMkLst>
        <pc:spChg chg="mod">
          <ac:chgData name="Olumide Olaolu Okunola" userId="f5de26f8-579f-49e5-ab93-66a8de36542b" providerId="ADAL" clId="{23EBDD9C-73C4-4743-A867-99E6BDEEEA94}" dt="2025-04-07T09:03:22.901" v="110" actId="207"/>
          <ac:spMkLst>
            <pc:docMk/>
            <pc:sldMk cId="205337786" sldId="2147482991"/>
            <ac:spMk id="6" creationId="{A0AE228D-059E-1812-2750-D07A984ED5BE}"/>
          </ac:spMkLst>
        </pc:spChg>
      </pc:sldChg>
      <pc:sldChg chg="modSp mod">
        <pc:chgData name="Olumide Olaolu Okunola" userId="f5de26f8-579f-49e5-ab93-66a8de36542b" providerId="ADAL" clId="{23EBDD9C-73C4-4743-A867-99E6BDEEEA94}" dt="2025-04-07T09:06:07.352" v="277" actId="20577"/>
        <pc:sldMkLst>
          <pc:docMk/>
          <pc:sldMk cId="2947821440" sldId="2147482993"/>
        </pc:sldMkLst>
        <pc:spChg chg="mod">
          <ac:chgData name="Olumide Olaolu Okunola" userId="f5de26f8-579f-49e5-ab93-66a8de36542b" providerId="ADAL" clId="{23EBDD9C-73C4-4743-A867-99E6BDEEEA94}" dt="2025-04-07T09:06:07.352" v="277" actId="20577"/>
          <ac:spMkLst>
            <pc:docMk/>
            <pc:sldMk cId="2947821440" sldId="2147482993"/>
            <ac:spMk id="10" creationId="{F43F402F-EEC0-6E68-1997-77D02FD76C13}"/>
          </ac:spMkLst>
        </pc:spChg>
      </pc:sldChg>
      <pc:sldChg chg="addSp delSp modSp new mod modClrScheme chgLayout">
        <pc:chgData name="Olumide Olaolu Okunola" userId="f5de26f8-579f-49e5-ab93-66a8de36542b" providerId="ADAL" clId="{23EBDD9C-73C4-4743-A867-99E6BDEEEA94}" dt="2025-04-07T09:12:13.542" v="342" actId="14100"/>
        <pc:sldMkLst>
          <pc:docMk/>
          <pc:sldMk cId="187859323" sldId="2147482994"/>
        </pc:sldMkLst>
        <pc:spChg chg="add mod">
          <ac:chgData name="Olumide Olaolu Okunola" userId="f5de26f8-579f-49e5-ab93-66a8de36542b" providerId="ADAL" clId="{23EBDD9C-73C4-4743-A867-99E6BDEEEA94}" dt="2025-04-07T09:12:13.542" v="342" actId="14100"/>
          <ac:spMkLst>
            <pc:docMk/>
            <pc:sldMk cId="187859323" sldId="2147482994"/>
            <ac:spMk id="4" creationId="{DF90B9F2-78FD-554B-0A1E-625BC7942F03}"/>
          </ac:spMkLst>
        </pc:spChg>
        <pc:picChg chg="add mod">
          <ac:chgData name="Olumide Olaolu Okunola" userId="f5de26f8-579f-49e5-ab93-66a8de36542b" providerId="ADAL" clId="{23EBDD9C-73C4-4743-A867-99E6BDEEEA94}" dt="2025-04-07T09:09:30.602" v="283" actId="14100"/>
          <ac:picMkLst>
            <pc:docMk/>
            <pc:sldMk cId="187859323" sldId="2147482994"/>
            <ac:picMk id="1026" creationId="{8D678A2F-923B-0A8E-161F-1E4E618901F4}"/>
          </ac:picMkLst>
        </pc:picChg>
      </pc:sldChg>
      <pc:sldChg chg="addSp delSp modSp new mod modClrScheme chgLayout">
        <pc:chgData name="Olumide Olaolu Okunola" userId="f5de26f8-579f-49e5-ab93-66a8de36542b" providerId="ADAL" clId="{23EBDD9C-73C4-4743-A867-99E6BDEEEA94}" dt="2025-04-09T13:37:52.337" v="1175" actId="20577"/>
        <pc:sldMkLst>
          <pc:docMk/>
          <pc:sldMk cId="4291056134" sldId="2147482995"/>
        </pc:sldMkLst>
        <pc:spChg chg="add mod">
          <ac:chgData name="Olumide Olaolu Okunola" userId="f5de26f8-579f-49e5-ab93-66a8de36542b" providerId="ADAL" clId="{23EBDD9C-73C4-4743-A867-99E6BDEEEA94}" dt="2025-04-09T13:37:52.337" v="1175" actId="20577"/>
          <ac:spMkLst>
            <pc:docMk/>
            <pc:sldMk cId="4291056134" sldId="2147482995"/>
            <ac:spMk id="9" creationId="{D85E8EC4-839F-97B9-D082-66D9815CEA5A}"/>
          </ac:spMkLst>
        </pc:spChg>
        <pc:picChg chg="add mod">
          <ac:chgData name="Olumide Olaolu Okunola" userId="f5de26f8-579f-49e5-ab93-66a8de36542b" providerId="ADAL" clId="{23EBDD9C-73C4-4743-A867-99E6BDEEEA94}" dt="2025-04-07T09:22:23.162" v="347" actId="962"/>
          <ac:picMkLst>
            <pc:docMk/>
            <pc:sldMk cId="4291056134" sldId="2147482995"/>
            <ac:picMk id="4" creationId="{E827C0A3-8D3D-7C14-247E-0DB34102795C}"/>
          </ac:picMkLst>
        </pc:picChg>
      </pc:sldChg>
      <pc:sldChg chg="addSp delSp modSp new mod">
        <pc:chgData name="Olumide Olaolu Okunola" userId="f5de26f8-579f-49e5-ab93-66a8de36542b" providerId="ADAL" clId="{23EBDD9C-73C4-4743-A867-99E6BDEEEA94}" dt="2025-04-07T13:52:47.269" v="857" actId="14100"/>
        <pc:sldMkLst>
          <pc:docMk/>
          <pc:sldMk cId="1212727678" sldId="2147482996"/>
        </pc:sldMkLst>
        <pc:spChg chg="mod">
          <ac:chgData name="Olumide Olaolu Okunola" userId="f5de26f8-579f-49e5-ab93-66a8de36542b" providerId="ADAL" clId="{23EBDD9C-73C4-4743-A867-99E6BDEEEA94}" dt="2025-04-07T13:52:47.269" v="857" actId="14100"/>
          <ac:spMkLst>
            <pc:docMk/>
            <pc:sldMk cId="1212727678" sldId="2147482996"/>
            <ac:spMk id="2" creationId="{FE48EB27-67F1-5669-1FC8-53F14B09A9D7}"/>
          </ac:spMkLst>
        </pc:spChg>
        <pc:picChg chg="add mod">
          <ac:chgData name="Olumide Olaolu Okunola" userId="f5de26f8-579f-49e5-ab93-66a8de36542b" providerId="ADAL" clId="{23EBDD9C-73C4-4743-A867-99E6BDEEEA94}" dt="2025-04-07T13:48:14.870" v="657"/>
          <ac:picMkLst>
            <pc:docMk/>
            <pc:sldMk cId="1212727678" sldId="2147482996"/>
            <ac:picMk id="4" creationId="{50DD8EBD-3F95-D9C0-A6DB-CBF8A7AA1607}"/>
          </ac:picMkLst>
        </pc:picChg>
      </pc:sldChg>
      <pc:sldChg chg="addSp delSp modSp new mod">
        <pc:chgData name="Olumide Olaolu Okunola" userId="f5de26f8-579f-49e5-ab93-66a8de36542b" providerId="ADAL" clId="{23EBDD9C-73C4-4743-A867-99E6BDEEEA94}" dt="2025-04-09T13:38:12.842" v="1179" actId="20577"/>
        <pc:sldMkLst>
          <pc:docMk/>
          <pc:sldMk cId="2000030542" sldId="2147482997"/>
        </pc:sldMkLst>
        <pc:spChg chg="add mod">
          <ac:chgData name="Olumide Olaolu Okunola" userId="f5de26f8-579f-49e5-ab93-66a8de36542b" providerId="ADAL" clId="{23EBDD9C-73C4-4743-A867-99E6BDEEEA94}" dt="2025-04-09T13:38:12.842" v="1179" actId="20577"/>
          <ac:spMkLst>
            <pc:docMk/>
            <pc:sldMk cId="2000030542" sldId="2147482997"/>
            <ac:spMk id="10" creationId="{82A23D52-F206-B07A-DC1B-EB70E803FB29}"/>
          </ac:spMkLst>
        </pc:spChg>
        <pc:picChg chg="add mod">
          <ac:chgData name="Olumide Olaolu Okunola" userId="f5de26f8-579f-49e5-ab93-66a8de36542b" providerId="ADAL" clId="{23EBDD9C-73C4-4743-A867-99E6BDEEEA94}" dt="2025-04-07T14:07:43.124" v="862" actId="26606"/>
          <ac:picMkLst>
            <pc:docMk/>
            <pc:sldMk cId="2000030542" sldId="2147482997"/>
            <ac:picMk id="5" creationId="{E344306D-34AD-216A-956B-429DAA59677A}"/>
          </ac:picMkLst>
        </pc:picChg>
      </pc:sldChg>
      <pc:sldChg chg="new del">
        <pc:chgData name="Olumide Olaolu Okunola" userId="f5de26f8-579f-49e5-ab93-66a8de36542b" providerId="ADAL" clId="{23EBDD9C-73C4-4743-A867-99E6BDEEEA94}" dt="2025-04-07T14:10:51.898" v="923" actId="47"/>
        <pc:sldMkLst>
          <pc:docMk/>
          <pc:sldMk cId="852157126" sldId="2147482998"/>
        </pc:sldMkLst>
      </pc:sldChg>
      <pc:sldChg chg="addSp delSp modSp new del mod">
        <pc:chgData name="Olumide Olaolu Okunola" userId="f5de26f8-579f-49e5-ab93-66a8de36542b" providerId="ADAL" clId="{23EBDD9C-73C4-4743-A867-99E6BDEEEA94}" dt="2025-04-09T13:39:10.110" v="1284" actId="47"/>
        <pc:sldMkLst>
          <pc:docMk/>
          <pc:sldMk cId="3787011837" sldId="214748299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F70B93-0AF3-49D6-9676-BE9C3C0D3B0D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E6C3AC-461D-45C2-9417-E351E4ABAF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508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D58FB-8347-4655-BBC8-37F0B8A75B5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694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F541AD-D04B-40BE-BC7F-8EB67FFE4C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700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17FF99-D27E-4DA5-9588-A74031BD6FD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160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8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8.emf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presenta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FF9D33A5-86ED-9331-F7AA-2088FF17958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9806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00B0F0"/>
              </a:solidFill>
              <a:latin typeface="+mj-lt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FB3DED9D-88E2-B2BF-7A8E-D61A043CEFEE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0236" y="2277596"/>
            <a:ext cx="4115360" cy="411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10235" y="1097285"/>
            <a:ext cx="10085294" cy="434509"/>
          </a:xfrm>
        </p:spPr>
        <p:txBody>
          <a:bodyPr/>
          <a:lstStyle>
            <a:lvl1pPr algn="r">
              <a:defRPr sz="2824" b="1">
                <a:solidFill>
                  <a:srgbClr val="00206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09129" y="3840483"/>
            <a:ext cx="5486400" cy="325881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118" b="1">
                <a:solidFill>
                  <a:srgbClr val="00BEFA"/>
                </a:solidFill>
              </a:defRPr>
            </a:lvl1pPr>
            <a:lvl2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0235" y="1575066"/>
            <a:ext cx="10085294" cy="423862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0"/>
              </a:spcBef>
              <a:defRPr sz="2471" b="1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2800" b="1" i="1">
                <a:solidFill>
                  <a:schemeClr val="bg2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5809129" y="4212193"/>
            <a:ext cx="5486400" cy="246165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588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1"/>
            </a:lvl2pPr>
            <a:lvl3pPr>
              <a:lnSpc>
                <a:spcPct val="100000"/>
              </a:lnSpc>
              <a:spcBef>
                <a:spcPts val="0"/>
              </a:spcBef>
              <a:defRPr b="1"/>
            </a:lvl3pPr>
            <a:lvl4pPr>
              <a:lnSpc>
                <a:spcPct val="100000"/>
              </a:lnSpc>
              <a:spcBef>
                <a:spcPts val="0"/>
              </a:spcBef>
              <a:defRPr b="1"/>
            </a:lvl4pPr>
            <a:lvl5pPr>
              <a:lnSpc>
                <a:spcPct val="100000"/>
              </a:lnSpc>
              <a:spcBef>
                <a:spcPts val="0"/>
              </a:spcBef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346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-section title-No_subs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97496" y="3023505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015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multiple bullets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083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35342"/>
            <a:ext cx="10811435" cy="217254"/>
          </a:xfrm>
        </p:spPr>
        <p:txBody>
          <a:bodyPr>
            <a:spAutoFit/>
          </a:bodyPr>
          <a:lstStyle>
            <a:lvl1pPr marL="0" indent="0"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463040"/>
            <a:ext cx="10811435" cy="878068"/>
          </a:xfrm>
        </p:spPr>
        <p:txBody>
          <a:bodyPr>
            <a:spAutoFit/>
          </a:bodyPr>
          <a:lstStyle>
            <a:lvl1pPr marL="274327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31540" indent="-274327">
              <a:buClr>
                <a:srgbClr val="002060"/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rgbClr val="002060"/>
                </a:solidFill>
              </a:defRPr>
            </a:lvl2pPr>
            <a:lvl3pPr marL="1005866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54171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-multiple bullets-nosubs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083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6" y="864341"/>
            <a:ext cx="10811435" cy="878068"/>
          </a:xfrm>
        </p:spPr>
        <p:txBody>
          <a:bodyPr>
            <a:spAutoFit/>
          </a:bodyPr>
          <a:lstStyle>
            <a:lvl1pPr marL="274327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31540" indent="-274327">
              <a:buClr>
                <a:srgbClr val="002060"/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rgbClr val="002060"/>
                </a:solidFill>
              </a:defRPr>
            </a:lvl2pPr>
            <a:lvl3pPr marL="1005866" indent="-274327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11045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numbered bullets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09143"/>
            <a:ext cx="10811435" cy="434509"/>
          </a:xfrm>
        </p:spPr>
        <p:txBody>
          <a:bodyPr anchor="b"/>
          <a:lstStyle>
            <a:lvl1pPr>
              <a:defRPr sz="2824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36986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463045"/>
            <a:ext cx="10811435" cy="547661"/>
          </a:xfrm>
        </p:spPr>
        <p:txBody>
          <a:bodyPr lIns="365760"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accent5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412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8854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ngle chart or table-title only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61697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64777" y="227188"/>
            <a:ext cx="10811435" cy="434509"/>
          </a:xfrm>
        </p:spPr>
        <p:txBody>
          <a:bodyPr/>
          <a:lstStyle>
            <a:lvl1pPr>
              <a:defRPr sz="2824" b="1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9331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ngle chart or table-with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777" y="227188"/>
            <a:ext cx="10811435" cy="434509"/>
          </a:xfrm>
        </p:spPr>
        <p:txBody>
          <a:bodyPr/>
          <a:lstStyle>
            <a:lvl1pPr>
              <a:defRPr sz="2824" b="1" baseline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4777" y="661697"/>
            <a:ext cx="10811435" cy="217254"/>
          </a:xfrm>
        </p:spPr>
        <p:txBody>
          <a:bodyPr>
            <a:spAutoFit/>
          </a:bodyPr>
          <a:lstStyle>
            <a:lvl1pPr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1105529"/>
            <a:ext cx="108114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4025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side-by-side charts-title only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167D4BE-76A7-233B-B1BE-15B992D00D73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461104"/>
            <a:ext cx="0" cy="494025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459" y="274322"/>
            <a:ext cx="10811435" cy="380194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5459" y="706898"/>
            <a:ext cx="10811435" cy="217254"/>
          </a:xfrm>
        </p:spPr>
        <p:txBody>
          <a:bodyPr>
            <a:spAutoFit/>
          </a:bodyPr>
          <a:lstStyle>
            <a:lvl1pPr marL="0" indent="0">
              <a:defRPr sz="1412" b="1" i="0">
                <a:solidFill>
                  <a:srgbClr val="00BEF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5D94115-3A4B-B875-B8F6-95F92935EA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459" y="1461104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EDDE92C-54AC-826C-D1D2-969B92A91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1506" y="1470913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3324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de-by-side charts-with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3B6424-3D3D-F41B-B5A2-B374E49C1234}"/>
              </a:ext>
            </a:extLst>
          </p:cNvPr>
          <p:cNvCxnSpPr>
            <a:cxnSpLocks/>
          </p:cNvCxnSpPr>
          <p:nvPr/>
        </p:nvCxnSpPr>
        <p:spPr bwMode="auto">
          <a:xfrm>
            <a:off x="6096000" y="914681"/>
            <a:ext cx="0" cy="54866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7" y="914405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212541" y="914405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0834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-side-by-side charts-with common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3B6424-3D3D-F41B-B5A2-B374E49C1234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216404"/>
            <a:ext cx="0" cy="518495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496" y="1216408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02469" y="1223942"/>
            <a:ext cx="5325035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3200E8-E437-EF7B-B96D-899A00A6C1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4496" y="718022"/>
            <a:ext cx="10812275" cy="217304"/>
          </a:xfrm>
        </p:spPr>
        <p:txBody>
          <a:bodyPr wrap="square"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20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ide-bar text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3F9490E-F061-992C-C884-41803BC540A2}"/>
              </a:ext>
            </a:extLst>
          </p:cNvPr>
          <p:cNvCxnSpPr>
            <a:cxnSpLocks/>
          </p:cNvCxnSpPr>
          <p:nvPr/>
        </p:nvCxnSpPr>
        <p:spPr bwMode="auto">
          <a:xfrm>
            <a:off x="3630706" y="914681"/>
            <a:ext cx="0" cy="246809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AA1AE3-D1F0-DDA0-A8DE-A55D4EFE3D1B}"/>
              </a:ext>
            </a:extLst>
          </p:cNvPr>
          <p:cNvCxnSpPr>
            <a:cxnSpLocks/>
          </p:cNvCxnSpPr>
          <p:nvPr/>
        </p:nvCxnSpPr>
        <p:spPr bwMode="auto">
          <a:xfrm>
            <a:off x="3630706" y="3630706"/>
            <a:ext cx="0" cy="2560544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4776" y="914401"/>
            <a:ext cx="2904565" cy="543226"/>
          </a:xfrm>
        </p:spPr>
        <p:txBody>
          <a:bodyPr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765" b="1">
                <a:solidFill>
                  <a:srgbClr val="00BEFA"/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11388" y="914405"/>
            <a:ext cx="7664824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64776" y="3630706"/>
            <a:ext cx="2904565" cy="543226"/>
          </a:xfrm>
        </p:spPr>
        <p:txBody>
          <a:bodyPr>
            <a:spAutoFit/>
          </a:bodyPr>
          <a:lstStyle>
            <a:lvl1pPr marL="0" indent="0">
              <a:buClr>
                <a:schemeClr val="bg1">
                  <a:lumMod val="50000"/>
                </a:schemeClr>
              </a:buClr>
              <a:buSzPct val="90000"/>
              <a:buFont typeface="Arial" panose="020B0604020202020204" pitchFamily="34" charset="0"/>
              <a:buNone/>
              <a:defRPr sz="1765" b="1">
                <a:solidFill>
                  <a:srgbClr val="00BBFE"/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711388" y="3630706"/>
            <a:ext cx="7664824" cy="217254"/>
          </a:xfrm>
        </p:spPr>
        <p:txBody>
          <a:bodyPr>
            <a:spAutoFit/>
          </a:bodyPr>
          <a:lstStyle>
            <a:lvl1pPr marL="274327" indent="-274327"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●"/>
              <a:defRPr sz="1412" b="1">
                <a:solidFill>
                  <a:schemeClr val="bg1">
                    <a:lumMod val="50000"/>
                  </a:schemeClr>
                </a:solidFill>
              </a:defRPr>
            </a:lvl1pPr>
            <a:lvl2pPr marL="731540" indent="-274327">
              <a:buClr>
                <a:schemeClr val="bg2">
                  <a:lumMod val="50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rgbClr val="336699"/>
                </a:solidFill>
              </a:defRPr>
            </a:lvl2pPr>
            <a:lvl3pPr marL="1005866" indent="-274327"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►"/>
              <a:defRPr sz="1600" b="1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9850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-sec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96828" y="2837380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95801" y="3392651"/>
            <a:ext cx="7969250" cy="38019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2471" b="1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08171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44B48-8371-F904-56EE-80EE897E9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F759BB-59E7-B0A7-B193-EFA2195EC7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007CA8-D56D-0734-52A4-C6DE1E3C8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14DA-2A88-4520-9F8D-C191F82AD36D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1966E-7948-5849-5140-E31673412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DD5DD-A103-BEF7-8200-FD5AD24DB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92EAF-111E-4A09-A9CA-6E73ACCFD7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665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43CCA3-100F-C1DA-7335-2603882C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10B9A-875E-4FD8-B02E-1E7D32A68DB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DAEE6E-31D1-24C7-A787-6325969B1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159FA3-4EAE-F6B7-98CE-1A1B0D65D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2442C7-A458-48D7-846D-EB4BE6CC8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033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203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99D375-D8CB-43AE-B084-E4C619606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982F8-1E52-4C05-8917-2216A0D5E2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3EB7DE6-936E-4C21-888A-5997AA7DA1C0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6A40985-72F4-417E-ACAE-B439DAF4B4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26765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38345-5B0B-DA46-6C3D-F33B665D3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35C112-94A7-1D13-9A5B-9E9104D76E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4714B4-C8BC-54EA-CB12-5C657BB5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03785-5F9A-43C3-9A07-529EB5D4CF7E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E66E1-5079-ECC3-7623-7D4C18816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3000F-6621-5C07-2008-CD757EC86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3C506-BE61-40F1-8C53-3BD3A006A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734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997858"/>
            <a:ext cx="4014520" cy="49249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E3858F-ED92-4D33-9105-3DC65086BB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6791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0329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0248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34465-D5CB-CA72-FA56-9B2DF5919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A3F4FB-A481-AC21-3E79-5B40E8E74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0212BE-7AA3-4F8C-B900-8BBB7B3C2C68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A0D05D-AE62-1AA9-8AD8-69F05B877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461A1D-7F88-9C1A-3544-CE29A898A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D15D7E-4579-41D3-8A4D-A69924D6B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9219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F7DBC-238A-4CBB-BD7B-115F1C84D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207331"/>
            <a:ext cx="11185525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0889B-E9E5-4DA5-823D-60FF99FE2A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E358-12B6-48F4-BFB1-7DEE8B24E6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DC88FE-50DB-4335-8A8E-1BE85693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77940"/>
            <a:ext cx="2804160" cy="276999"/>
          </a:xfrm>
        </p:spPr>
        <p:txBody>
          <a:bodyPr/>
          <a:lstStyle/>
          <a:p>
            <a:fld id="{7F66F98A-1085-4BF2-BD66-0F5005786AE3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E55612-4332-48F6-9159-6B4D61C6C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5280" y="6377940"/>
            <a:ext cx="3901440" cy="276999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CF586-CC64-46FC-AA7A-60C7BFC59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788" y="6463993"/>
            <a:ext cx="192404" cy="138499"/>
          </a:xfrm>
        </p:spPr>
        <p:txBody>
          <a:bodyPr/>
          <a:lstStyle/>
          <a:p>
            <a:fld id="{FDC7178F-6050-412E-BDCF-394EA62285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898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22788" y="6463993"/>
            <a:ext cx="192404" cy="138499"/>
          </a:xfrm>
        </p:spPr>
        <p:txBody>
          <a:bodyPr/>
          <a:lstStyle/>
          <a:p>
            <a:fld id="{5F2ABEBD-494A-48E1-8492-00C1D9BBC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11"/>
          </p:nvPr>
        </p:nvSpPr>
        <p:spPr>
          <a:xfrm>
            <a:off x="439723" y="940727"/>
            <a:ext cx="11428908" cy="1395291"/>
          </a:xfrm>
        </p:spPr>
        <p:txBody>
          <a:bodyPr/>
          <a:lstStyle>
            <a:lvl1pPr>
              <a:defRPr sz="2133"/>
            </a:lvl1pPr>
            <a:lvl2pPr>
              <a:defRPr sz="2000"/>
            </a:lvl2pPr>
            <a:lvl3pPr>
              <a:defRPr sz="1867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0189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11887" y="3023505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73553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0F385A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63651" y="6453259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9E13FAB8-8B80-3C42-AB5F-A5D07337DD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609600" y="411407"/>
            <a:ext cx="10972800" cy="1143000"/>
          </a:xfrm>
          <a:prstGeom prst="rect">
            <a:avLst/>
          </a:prstGeom>
        </p:spPr>
        <p:txBody>
          <a:bodyPr vert="horz"/>
          <a:lstStyle>
            <a:lvl1pPr algn="ctr">
              <a:defRPr sz="2400" b="1" i="0">
                <a:solidFill>
                  <a:srgbClr val="0F38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WBG_Horizontal-white_gradien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053" y="6459166"/>
            <a:ext cx="1804416" cy="265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67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664907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71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5524"/>
            <a:ext cx="11082528" cy="731520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105925"/>
            <a:ext cx="11082528" cy="276999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9253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24215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6" name="Picture 5" descr="A collage of people raising their hands&#10;&#10;Description automatically generated">
            <a:extLst>
              <a:ext uri="{FF2B5EF4-FFF2-40B4-BE49-F238E27FC236}">
                <a16:creationId xmlns:a16="http://schemas.microsoft.com/office/drawing/2014/main" id="{D98692C9-AB10-6016-96B9-BBBCE1B2A6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72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4" name="Picture 3" descr="A collage of different images of people&#10;&#10;Description automatically generated">
            <a:extLst>
              <a:ext uri="{FF2B5EF4-FFF2-40B4-BE49-F238E27FC236}">
                <a16:creationId xmlns:a16="http://schemas.microsoft.com/office/drawing/2014/main" id="{4DF7F62F-29E0-7C5F-52DB-8EC9ACDE5E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45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5" name="Picture 4" descr="A collage of a person&#10;&#10;Description automatically generated">
            <a:extLst>
              <a:ext uri="{FF2B5EF4-FFF2-40B4-BE49-F238E27FC236}">
                <a16:creationId xmlns:a16="http://schemas.microsoft.com/office/drawing/2014/main" id="{ECDB8610-E9E7-D105-48E9-DBDB66AB0A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17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548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-section title-no_sub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rgbClr val="336699"/>
              </a:solidFill>
              <a:latin typeface="+mj-lt"/>
            </a:endParaRPr>
          </a:p>
        </p:txBody>
      </p:sp>
      <p:pic>
        <p:nvPicPr>
          <p:cNvPr id="4" name="Picture 3" descr="A person and person with green background&#10;&#10;Description automatically generated with medium confidence">
            <a:extLst>
              <a:ext uri="{FF2B5EF4-FFF2-40B4-BE49-F238E27FC236}">
                <a16:creationId xmlns:a16="http://schemas.microsoft.com/office/drawing/2014/main" id="{62080283-5413-D881-BC7D-105B4A09F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76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-section title-world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44ED63-385F-3968-45CC-D4FD3BF8003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/>
          <a:lstStyle/>
          <a:p>
            <a:pPr marL="115892" indent="-115892" algn="just" eaLnBrk="1" hangingPunct="1">
              <a:spcBef>
                <a:spcPct val="50000"/>
              </a:spcBef>
              <a:buFontTx/>
              <a:buChar char="•"/>
              <a:defRPr/>
            </a:pPr>
            <a:endParaRPr lang="en-US" sz="1300" b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E0360B2-E885-E7E3-0E0F-6A57BB6F3E42}"/>
              </a:ext>
            </a:extLst>
          </p:cNvPr>
          <p:cNvPicPr>
            <a:picLocks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37" y="2823883"/>
            <a:ext cx="888066" cy="88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47162" y="2837380"/>
            <a:ext cx="7968225" cy="48882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177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146135" y="3409429"/>
            <a:ext cx="7969250" cy="38019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2471" b="1">
                <a:solidFill>
                  <a:srgbClr val="00BEF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1827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9FCCE041-9A23-AF02-5EC4-3C721875D5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64497" y="274544"/>
            <a:ext cx="10812275" cy="37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Slide tit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CCFA6324-D44D-6928-33A7-24C8DAAA79E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64497" y="1636059"/>
            <a:ext cx="10812275" cy="411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2BA583-B9B7-B4A8-355C-B9108A332FDF}"/>
              </a:ext>
            </a:extLst>
          </p:cNvPr>
          <p:cNvSpPr txBox="1"/>
          <p:nvPr/>
        </p:nvSpPr>
        <p:spPr>
          <a:xfrm>
            <a:off x="11533655" y="6539747"/>
            <a:ext cx="487456" cy="1538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41CAA725-059A-4896-B471-32FA9E29F2D0}" type="slidenum"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pPr algn="r" eaLnBrk="1" hangingPunct="1">
                <a:defRPr/>
              </a:pPr>
              <a:t>‹#›</a:t>
            </a:fld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A25057C-5624-D05D-4DBD-07019A965F23}"/>
              </a:ext>
            </a:extLst>
          </p:cNvPr>
          <p:cNvCxnSpPr/>
          <p:nvPr/>
        </p:nvCxnSpPr>
        <p:spPr bwMode="auto">
          <a:xfrm>
            <a:off x="564497" y="6405563"/>
            <a:ext cx="1145661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6A98C42-3786-A65B-896D-A16A6A2B1825}"/>
              </a:ext>
            </a:extLst>
          </p:cNvPr>
          <p:cNvSpPr txBox="1"/>
          <p:nvPr/>
        </p:nvSpPr>
        <p:spPr>
          <a:xfrm>
            <a:off x="2893920" y="6441983"/>
            <a:ext cx="6799169" cy="28238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235" spc="132">
                <a:solidFill>
                  <a:srgbClr val="00B050"/>
                </a:solidFill>
                <a:latin typeface="+mn-lt"/>
              </a:rPr>
              <a:t>(RE)SETTING THE SC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33A9CD-1F55-9985-804A-A02627297CA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987" y="6441983"/>
            <a:ext cx="1305707" cy="3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71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71">
          <a:solidFill>
            <a:schemeClr val="accent6">
              <a:lumMod val="50000"/>
            </a:schemeClr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71">
          <a:solidFill>
            <a:srgbClr val="002060"/>
          </a:solidFill>
          <a:latin typeface="Arial Bold" charset="0"/>
          <a:ea typeface="MS PGothic" pitchFamily="34" charset="-128"/>
        </a:defRPr>
      </a:lvl5pPr>
      <a:lvl6pPr marL="457211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23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35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46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1798" indent="-341798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429" indent="-284365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203" indent="909126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599725" indent="-228332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6389" indent="-228332" algn="l" rtl="0" eaLnBrk="1" fontAlgn="base" hangingPunct="1">
        <a:spcBef>
          <a:spcPts val="904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64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76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88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99" indent="-228606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7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6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23FD7E0-80F6-3FF9-CCD3-600F88921FC5}"/>
              </a:ext>
            </a:extLst>
          </p:cNvPr>
          <p:cNvSpPr txBox="1">
            <a:spLocks/>
          </p:cNvSpPr>
          <p:nvPr/>
        </p:nvSpPr>
        <p:spPr>
          <a:xfrm>
            <a:off x="3544866" y="1589533"/>
            <a:ext cx="8111105" cy="4015264"/>
          </a:xfrm>
          <a:prstGeom prst="rect">
            <a:avLst/>
          </a:prstGeom>
        </p:spPr>
        <p:txBody>
          <a:bodyPr/>
          <a:lstStyle>
            <a:lvl1pPr marL="341798" indent="-341798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429" indent="-284365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203" indent="909126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599725" indent="-228332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6389" indent="-228332" algn="l" rtl="0" eaLnBrk="1" fontAlgn="base" hangingPunct="1"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64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76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88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99" indent="-2286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S PGothic" pitchFamily="34" charset="-128"/>
                <a:cs typeface="+mn-cs"/>
              </a:rPr>
              <a:t>ALIGNMENT IN PRACTICE: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z="4400" b="1" kern="0" cap="all" dirty="0">
                <a:solidFill>
                  <a:prstClr val="white"/>
                </a:solidFill>
                <a:latin typeface="+mj-lt"/>
              </a:rPr>
              <a:t>REFLECTIONS FROM </a:t>
            </a:r>
            <a:r>
              <a:rPr kumimoji="0" lang="en-US" sz="44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S PGothic" pitchFamily="34" charset="-128"/>
                <a:cs typeface="+mn-cs"/>
              </a:rPr>
              <a:t>Nigeria</a:t>
            </a:r>
          </a:p>
          <a:p>
            <a:pPr marL="0" indent="0">
              <a:defRPr/>
            </a:pPr>
            <a:r>
              <a:rPr lang="en-US" sz="3200" b="1" dirty="0">
                <a:solidFill>
                  <a:schemeClr val="bg1"/>
                </a:solidFill>
                <a:latin typeface="Aptos ExtraBold" panose="020B0004020202020204" pitchFamily="34" charset="0"/>
              </a:rPr>
              <a:t>LESSONS,OPPORTUNTIES,CHALLENGES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904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S PGothic" pitchFamily="34" charset="-128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02241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E97687-6C1A-3E9B-2582-E57E00189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70C7C9C-D841-58DD-FB15-E5E6A491F69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135" y="889348"/>
            <a:ext cx="6705136" cy="4014592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16B60C7-FD0D-2314-F70D-2981CFF4288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827182" y="3457586"/>
            <a:ext cx="4572001" cy="3062210"/>
          </a:xfr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7346B13-D33D-FE51-0BDC-0BA8D481A651}"/>
              </a:ext>
            </a:extLst>
          </p:cNvPr>
          <p:cNvSpPr/>
          <p:nvPr/>
        </p:nvSpPr>
        <p:spPr bwMode="auto">
          <a:xfrm>
            <a:off x="225468" y="338204"/>
            <a:ext cx="4772417" cy="311938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+mj-lt"/>
                <a:cs typeface="Times New Roman" pitchFamily="18" charset="0"/>
              </a:rPr>
              <a:t>#</a:t>
            </a: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1 {LESSON}: GOVERNMENT OWNERSHIP IS A NECESSARY CONDITION: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0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LEGISLATION: </a:t>
            </a:r>
            <a:r>
              <a:rPr lang="en-US" sz="2000" b="1" dirty="0" err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NHAct</a:t>
            </a:r>
            <a:r>
              <a:rPr lang="en-US" sz="20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 of 2014. 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2000" b="1" i="0" u="none" strike="noStrike" cap="none" normalizeH="0" baseline="0" dirty="0" err="1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SWAp</a:t>
            </a: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 COMPACT: Not backed by force of law but effective in bringing all orders of government to align behind a common purpose. Local context matters. </a:t>
            </a:r>
          </a:p>
        </p:txBody>
      </p:sp>
    </p:spTree>
    <p:extLst>
      <p:ext uri="{BB962C8B-B14F-4D97-AF65-F5344CB8AC3E}">
        <p14:creationId xmlns:p14="http://schemas.microsoft.com/office/powerpoint/2010/main" val="222364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2B3AB3-AC75-BE1D-7820-644E94D5E60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43422" y="2567412"/>
            <a:ext cx="4572001" cy="3062210"/>
          </a:xfr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523189A-A02F-4B84-0A81-30D6C819A4C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9591" y="432148"/>
            <a:ext cx="6400800" cy="3457184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9938F551-11FB-FB76-D293-FBE0A1D9D2BF}"/>
              </a:ext>
            </a:extLst>
          </p:cNvPr>
          <p:cNvSpPr/>
          <p:nvPr/>
        </p:nvSpPr>
        <p:spPr bwMode="auto">
          <a:xfrm rot="16200000">
            <a:off x="1415441" y="5123148"/>
            <a:ext cx="1082249" cy="45594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8FAD16-35D4-07D6-F98F-0F888432776B}"/>
              </a:ext>
            </a:extLst>
          </p:cNvPr>
          <p:cNvSpPr/>
          <p:nvPr/>
        </p:nvSpPr>
        <p:spPr bwMode="auto">
          <a:xfrm>
            <a:off x="1031494" y="5892246"/>
            <a:ext cx="2530258" cy="533607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GFF 20M USD 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3A72869-5A47-DA4A-39FA-3419E2EEA941}"/>
              </a:ext>
            </a:extLst>
          </p:cNvPr>
          <p:cNvSpPr/>
          <p:nvPr/>
        </p:nvSpPr>
        <p:spPr bwMode="auto">
          <a:xfrm rot="16200000">
            <a:off x="7637120" y="4085990"/>
            <a:ext cx="533608" cy="27557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85B2210-4C1B-FADB-F033-36303F2D6184}"/>
              </a:ext>
            </a:extLst>
          </p:cNvPr>
          <p:cNvSpPr/>
          <p:nvPr/>
        </p:nvSpPr>
        <p:spPr bwMode="auto">
          <a:xfrm>
            <a:off x="7456697" y="4558224"/>
            <a:ext cx="2639281" cy="1767420"/>
          </a:xfrm>
          <a:prstGeom prst="roundRect">
            <a:avLst/>
          </a:prstGeom>
          <a:noFill/>
          <a:ln w="762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GFF: 50M USD 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Times New Roman" pitchFamily="18" charset="0"/>
              </a:rPr>
              <a:t>FCDO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CIFF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Times New Roman" pitchFamily="18" charset="0"/>
              </a:rPr>
              <a:t>JICA: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CANADA: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F52D2F1-5286-65EB-2F4E-2F75AF645005}"/>
              </a:ext>
            </a:extLst>
          </p:cNvPr>
          <p:cNvSpPr/>
          <p:nvPr/>
        </p:nvSpPr>
        <p:spPr bwMode="auto">
          <a:xfrm>
            <a:off x="438412" y="432147"/>
            <a:ext cx="4133588" cy="23486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#2 {LESSON}: ALIGNING PARTNER FINANCING BEHIND GON PRIORITIES IS ONE THE SUFFICIENT CONDITIONS.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2018: GFF PROVIDED GRANT TO KICKSTART BHCPF AND LEVERAGED 150M USD OF DRM.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2024: GFF AND OTHER PARTNERS HAVE MOBILIZED OVER 1BILLION USD </a:t>
            </a:r>
          </a:p>
        </p:txBody>
      </p:sp>
    </p:spTree>
    <p:extLst>
      <p:ext uri="{BB962C8B-B14F-4D97-AF65-F5344CB8AC3E}">
        <p14:creationId xmlns:p14="http://schemas.microsoft.com/office/powerpoint/2010/main" val="3285379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8B262-587A-0C46-A53C-EBC1EDA573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2D49FDF-2512-308C-1548-68CB8B896B6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517909" y="526916"/>
            <a:ext cx="4572001" cy="3062210"/>
          </a:xfr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908BDD1-694A-A272-0DCA-6322ED66B4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65" y="2861872"/>
            <a:ext cx="3974550" cy="2334648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D95A2AB-CFA0-0AC3-D5B0-C07E6C03123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34" y="86846"/>
            <a:ext cx="4938966" cy="2686833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D8C714A8-A4DD-7A98-CA3A-79490C1DFFDF}"/>
              </a:ext>
            </a:extLst>
          </p:cNvPr>
          <p:cNvSpPr/>
          <p:nvPr/>
        </p:nvSpPr>
        <p:spPr bwMode="auto">
          <a:xfrm rot="16200000">
            <a:off x="5562938" y="3097483"/>
            <a:ext cx="1082249" cy="455946"/>
          </a:xfrm>
          <a:prstGeom prst="rightArrow">
            <a:avLst>
              <a:gd name="adj1" fmla="val 82967"/>
              <a:gd name="adj2" fmla="val 50000"/>
            </a:avLst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9564A7-5B83-D7EF-E3BE-6493EB0ACBD5}"/>
              </a:ext>
            </a:extLst>
          </p:cNvPr>
          <p:cNvSpPr/>
          <p:nvPr/>
        </p:nvSpPr>
        <p:spPr bwMode="auto">
          <a:xfrm>
            <a:off x="5066907" y="3923362"/>
            <a:ext cx="2530258" cy="533607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GFF 20M USD 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4710E09-14C8-75B4-F556-AFDF42370524}"/>
              </a:ext>
            </a:extLst>
          </p:cNvPr>
          <p:cNvSpPr/>
          <p:nvPr/>
        </p:nvSpPr>
        <p:spPr bwMode="auto">
          <a:xfrm rot="16200000">
            <a:off x="9620042" y="2913348"/>
            <a:ext cx="533608" cy="275576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1B61484-FA7C-B6EC-F76B-9617650E02A7}"/>
              </a:ext>
            </a:extLst>
          </p:cNvPr>
          <p:cNvSpPr/>
          <p:nvPr/>
        </p:nvSpPr>
        <p:spPr bwMode="auto">
          <a:xfrm>
            <a:off x="8742754" y="3429000"/>
            <a:ext cx="3207076" cy="2909170"/>
          </a:xfrm>
          <a:prstGeom prst="roundRect">
            <a:avLst/>
          </a:prstGeom>
          <a:noFill/>
          <a:ln w="762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GFF: 50M USD 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sz="2400" b="1" dirty="0">
                <a:solidFill>
                  <a:srgbClr val="0070C0"/>
                </a:solidFill>
                <a:latin typeface="+mj-lt"/>
                <a:cs typeface="Times New Roman" pitchFamily="18" charset="0"/>
              </a:rPr>
              <a:t>FCDO: 11M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CIFF: 12.5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sz="2400" b="1" dirty="0">
                <a:solidFill>
                  <a:srgbClr val="0070C0"/>
                </a:solidFill>
                <a:latin typeface="+mj-lt"/>
                <a:cs typeface="Times New Roman" pitchFamily="18" charset="0"/>
              </a:rPr>
              <a:t>JICA: </a:t>
            </a:r>
            <a:r>
              <a:rPr lang="en-US" sz="2400" b="1" dirty="0">
                <a:solidFill>
                  <a:srgbClr val="0070C0"/>
                </a:solidFill>
                <a:highlight>
                  <a:srgbClr val="FFFF00"/>
                </a:highlight>
                <a:latin typeface="+mj-lt"/>
                <a:cs typeface="Times New Roman" pitchFamily="18" charset="0"/>
              </a:rPr>
              <a:t>NA</a:t>
            </a:r>
          </a:p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+mj-lt"/>
                <a:cs typeface="Times New Roman" pitchFamily="18" charset="0"/>
              </a:rPr>
              <a:t>CANADA: </a:t>
            </a: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highlight>
                  <a:srgbClr val="FFFF00"/>
                </a:highlight>
                <a:latin typeface="+mj-lt"/>
                <a:cs typeface="Times New Roman" pitchFamily="18" charset="0"/>
              </a:rPr>
              <a:t>NA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E5CE414-09AC-05DC-A283-8975120E0BB1}"/>
              </a:ext>
            </a:extLst>
          </p:cNvPr>
          <p:cNvSpPr/>
          <p:nvPr/>
        </p:nvSpPr>
        <p:spPr bwMode="auto">
          <a:xfrm>
            <a:off x="143665" y="86847"/>
            <a:ext cx="3526461" cy="249757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+mj-lt"/>
                <a:cs typeface="Times New Roman" pitchFamily="18" charset="0"/>
              </a:rPr>
              <a:t>#3{LESSON}: 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ALIGNING AND TIMING OF WB FINANCING CRUCIAL.</a:t>
            </a:r>
          </a:p>
          <a:p>
            <a:pPr marL="285750" marR="0" indent="-28575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SOML </a:t>
            </a:r>
            <a:r>
              <a:rPr lang="en-US" sz="1600" b="1" dirty="0" err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PforR</a:t>
            </a: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 </a:t>
            </a:r>
            <a:r>
              <a:rPr lang="en-US" sz="1600" b="1" u="sng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not </a:t>
            </a: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anchored to the </a:t>
            </a:r>
            <a:r>
              <a:rPr lang="en-US" sz="1600" b="1" dirty="0" err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NHAct</a:t>
            </a: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 in 2016.</a:t>
            </a:r>
          </a:p>
          <a:p>
            <a:pPr marL="285750" marR="0" indent="-28575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 err="1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Ngr’s</a:t>
            </a:r>
            <a:r>
              <a:rPr lang="en-US" sz="1600" b="1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 Evolution from RESULTS FRAMEWORK; BUDGET PLANNING; and full SWAP. </a:t>
            </a:r>
            <a:endParaRPr kumimoji="0" lang="en-US" sz="1600" b="1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622A0867-1A63-17A8-A283-39EA7FA7AAB1}"/>
              </a:ext>
            </a:extLst>
          </p:cNvPr>
          <p:cNvSpPr/>
          <p:nvPr/>
        </p:nvSpPr>
        <p:spPr bwMode="auto">
          <a:xfrm rot="16200000">
            <a:off x="2295586" y="5301833"/>
            <a:ext cx="567434" cy="402950"/>
          </a:xfrm>
          <a:prstGeom prst="rightArrow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19D839D-E806-33FF-84C8-8BDC293DB3C3}"/>
              </a:ext>
            </a:extLst>
          </p:cNvPr>
          <p:cNvSpPr/>
          <p:nvPr/>
        </p:nvSpPr>
        <p:spPr bwMode="auto">
          <a:xfrm>
            <a:off x="826718" y="5858419"/>
            <a:ext cx="3607496" cy="567434"/>
          </a:xfrm>
          <a:prstGeom prst="roundRect">
            <a:avLst/>
          </a:prstGeom>
          <a:noFill/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SOML </a:t>
            </a:r>
            <a:r>
              <a:rPr kumimoji="0" lang="en-US" sz="2400" b="1" i="0" u="none" strike="noStrike" cap="none" normalizeH="0" baseline="0" dirty="0" err="1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PforR</a:t>
            </a: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: 500M USD</a:t>
            </a:r>
          </a:p>
        </p:txBody>
      </p:sp>
    </p:spTree>
    <p:extLst>
      <p:ext uri="{BB962C8B-B14F-4D97-AF65-F5344CB8AC3E}">
        <p14:creationId xmlns:p14="http://schemas.microsoft.com/office/powerpoint/2010/main" val="612808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C3BC6-5DEE-8CAF-B2FC-E3A844C9F5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E44C1-2274-1CD1-EF5E-954B7ED3E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867" y="227405"/>
            <a:ext cx="4621278" cy="221517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774992E-CB6D-4C0F-D9F7-50DBB44253F9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3145" y="402768"/>
            <a:ext cx="6438378" cy="4545012"/>
          </a:xfrm>
          <a:noFill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1FE7D63-6692-312B-2B63-C6B38ED5D7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592" y="2442575"/>
            <a:ext cx="6914366" cy="382061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AE228D-059E-1812-2750-D07A984ED5BE}"/>
              </a:ext>
            </a:extLst>
          </p:cNvPr>
          <p:cNvSpPr/>
          <p:nvPr/>
        </p:nvSpPr>
        <p:spPr bwMode="auto">
          <a:xfrm>
            <a:off x="338203" y="402767"/>
            <a:ext cx="4521895" cy="18894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#4{OPPORTUNITY}: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ONE REPORT: ONE SOURCE OF TRUTH 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400" dirty="0">
                <a:solidFill>
                  <a:srgbClr val="0070C0"/>
                </a:solidFill>
                <a:latin typeface="Aptos ExtraBold" panose="020B0004020202020204" pitchFamily="34" charset="0"/>
                <a:cs typeface="Times New Roman" pitchFamily="18" charset="0"/>
              </a:rPr>
              <a:t>ONE CONVERSATION </a:t>
            </a: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377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6FEBFE-C427-DC6B-D82D-27C33AB7D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1185" y="162838"/>
            <a:ext cx="5862656" cy="6125228"/>
          </a:xfrm>
          <a:prstGeom prst="rect">
            <a:avLst/>
          </a:prstGeom>
          <a:noFill/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43F402F-EEC0-6E68-1997-77D02FD76C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5911" y="288099"/>
            <a:ext cx="5423848" cy="5634719"/>
          </a:xfrm>
        </p:spPr>
        <p:txBody>
          <a:bodyPr anchor="t"/>
          <a:lstStyle/>
          <a:p>
            <a:pPr marL="0" indent="0" algn="just"/>
            <a:r>
              <a:rPr lang="en-US" sz="2800" b="1" dirty="0">
                <a:solidFill>
                  <a:srgbClr val="002060"/>
                </a:solidFill>
                <a:latin typeface="Aptos ExtraBold" panose="020B0004020202020204" pitchFamily="34" charset="0"/>
              </a:rPr>
              <a:t>#5 {OPPORTUNITY}:GOVERNANCE ARRANGEMENTS ONE STOP SHOP: NO PARALLEL WB PCU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SCO SERVING BOTH AS THE SECRETARIAT FOR THE HEALTH REFORM AGENDA &amp; THE PMU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AT THE STATE LEVEL, BHCPG MOC RESPONSBLE FOR MANAGING THE HOPE </a:t>
            </a:r>
            <a:r>
              <a:rPr lang="en-US" b="1" dirty="0" err="1">
                <a:solidFill>
                  <a:srgbClr val="0070C0"/>
                </a:solidFill>
                <a:latin typeface="Aptos" panose="020B0004020202020204" pitchFamily="34" charset="0"/>
              </a:rPr>
              <a:t>Pfr</a:t>
            </a: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7821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1CCAAAF9-E684-46D0-A525-BF4E4ADDFB8A" descr="PHOTO-2024-11-07-15-04-49.jpg">
            <a:extLst>
              <a:ext uri="{FF2B5EF4-FFF2-40B4-BE49-F238E27FC236}">
                <a16:creationId xmlns:a16="http://schemas.microsoft.com/office/drawing/2014/main" id="{8D678A2F-923B-0A8E-161F-1E4E61890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55076" y="393940"/>
            <a:ext cx="5062247" cy="593170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F90B9F2-78FD-554B-0A1E-625BC7942F03}"/>
              </a:ext>
            </a:extLst>
          </p:cNvPr>
          <p:cNvSpPr/>
          <p:nvPr/>
        </p:nvSpPr>
        <p:spPr bwMode="auto">
          <a:xfrm>
            <a:off x="576198" y="576196"/>
            <a:ext cx="5724394" cy="57494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8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ptos ExtraBold" panose="020B0004020202020204" pitchFamily="34" charset="0"/>
                <a:cs typeface="Times New Roman" pitchFamily="18" charset="0"/>
              </a:rPr>
              <a:t>#6: {OPPORTUNITY}: TO ALIGN PRIORTIES:</a:t>
            </a:r>
          </a:p>
          <a:p>
            <a:pPr algn="just" fontAlgn="base">
              <a:spcBef>
                <a:spcPct val="5000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70C0"/>
                </a:solidFill>
                <a:latin typeface="Aptos" panose="020B0004020202020204" pitchFamily="34" charset="0"/>
              </a:rPr>
              <a:t>Maternal Mortality Reduction Investment Initiative (MAMII): </a:t>
            </a:r>
            <a:r>
              <a:rPr lang="en-US" sz="2400" dirty="0">
                <a:solidFill>
                  <a:srgbClr val="0070C0"/>
                </a:solidFill>
                <a:latin typeface="Aptos" panose="020B0004020202020204" pitchFamily="34" charset="0"/>
              </a:rPr>
              <a:t>A national strategy to crash maternal mortality in Nigeria identifying 172 LGAs that contribute 50% of Nigeria’s Maternal Mortality and Using an integrated approach to coordinate multiple interventions across multiple MDAs</a:t>
            </a:r>
          </a:p>
          <a:p>
            <a:pPr marR="0" algn="just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ptos ExtraBold" panose="020B000402020202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59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E827C0A3-8D3D-7C14-247E-0DB3410279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0667" y="1570168"/>
            <a:ext cx="6942667" cy="3731683"/>
          </a:xfrm>
          <a:prstGeom prst="rect">
            <a:avLst/>
          </a:prstGeom>
          <a:noFill/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D85E8EC4-839F-97B9-D082-66D9815CEA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0339" y="534395"/>
            <a:ext cx="4710327" cy="5628410"/>
          </a:xfrm>
        </p:spPr>
        <p:txBody>
          <a:bodyPr anchor="t"/>
          <a:lstStyle/>
          <a:p>
            <a:pPr marL="0" indent="0"/>
            <a:r>
              <a:rPr lang="en-US" dirty="0">
                <a:solidFill>
                  <a:srgbClr val="002060"/>
                </a:solidFill>
                <a:latin typeface="Aptos ExtraBold" panose="020B0004020202020204" pitchFamily="34" charset="0"/>
              </a:rPr>
              <a:t>#7 DPG COORDINATION </a:t>
            </a:r>
          </a:p>
          <a:p>
            <a:pPr marL="0" indent="0"/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OPPORTUNITY:DPG </a:t>
            </a: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COORDINATION</a:t>
            </a:r>
          </a:p>
          <a:p>
            <a:pPr marL="0" indent="0"/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LESSON:</a:t>
            </a: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 RESPONSIBLE FOR LEADERSHIP &amp; READY TO DEDICATE TIME FOR BEHAVOURIAL CHANGE</a:t>
            </a:r>
          </a:p>
          <a:p>
            <a:pPr marL="0" indent="0"/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CHALLENGE:</a:t>
            </a:r>
            <a:r>
              <a:rPr lang="en-US" b="1" dirty="0">
                <a:solidFill>
                  <a:srgbClr val="0070C0"/>
                </a:solidFill>
                <a:latin typeface="Aptos" panose="020B0004020202020204" pitchFamily="34" charset="0"/>
              </a:rPr>
              <a:t> CHANGE IS DIFFICUL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Aptos ExtraBold" panose="020B00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latin typeface="Aptos ExtraBold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561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E48EB27-67F1-5669-1FC8-53F14B09A9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5288" y="984250"/>
            <a:ext cx="4774396" cy="4924960"/>
          </a:xfrm>
        </p:spPr>
        <p:txBody>
          <a:bodyPr anchor="t"/>
          <a:lstStyle/>
          <a:p>
            <a:pPr algn="just"/>
            <a:r>
              <a:rPr lang="en-US" dirty="0">
                <a:solidFill>
                  <a:srgbClr val="002060"/>
                </a:solidFill>
                <a:latin typeface="Aptos ExtraBold" panose="020B0004020202020204" pitchFamily="34" charset="0"/>
              </a:rPr>
              <a:t>#8:{CHALLENGE}COORDINATION OF TA SUPPORT TO STAT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</a:rPr>
              <a:t>AOP DEVELOPMEN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</a:rPr>
              <a:t>MULTISECTORAL THINKING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</a:rPr>
              <a:t>LEADERSHIP CAPABILITY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</a:rPr>
              <a:t>DWINDLING TA POOL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70C0"/>
              </a:solidFill>
            </a:endParaRPr>
          </a:p>
          <a:p>
            <a:endParaRPr lang="en-US" dirty="0"/>
          </a:p>
        </p:txBody>
      </p:sp>
      <p:pic>
        <p:nvPicPr>
          <p:cNvPr id="4" name="image43.jpg">
            <a:extLst>
              <a:ext uri="{FF2B5EF4-FFF2-40B4-BE49-F238E27FC236}">
                <a16:creationId xmlns:a16="http://schemas.microsoft.com/office/drawing/2014/main" id="{50DD8EBD-3F95-D9C0-A6DB-CBF8A7AA1607}"/>
              </a:ext>
            </a:extLst>
          </p:cNvPr>
          <p:cNvPicPr>
            <a:picLocks noGrp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949684" y="984250"/>
            <a:ext cx="6864632" cy="4903788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2127276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82A23D52-F206-B07A-DC1B-EB70E803FB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5912" y="997858"/>
            <a:ext cx="4014520" cy="4924960"/>
          </a:xfrm>
        </p:spPr>
        <p:txBody>
          <a:bodyPr anchor="t"/>
          <a:lstStyle/>
          <a:p>
            <a:pPr algn="just"/>
            <a:r>
              <a:rPr lang="en-US" sz="2800" dirty="0">
                <a:solidFill>
                  <a:srgbClr val="002060"/>
                </a:solidFill>
                <a:latin typeface="Aptos ExtraBold" panose="020B0004020202020204" pitchFamily="34" charset="0"/>
              </a:rPr>
              <a:t>#9:</a:t>
            </a:r>
          </a:p>
          <a:p>
            <a:pPr algn="just"/>
            <a:r>
              <a:rPr lang="en-US" sz="2800" dirty="0">
                <a:solidFill>
                  <a:srgbClr val="FF0000"/>
                </a:solidFill>
                <a:latin typeface="Aptos ExtraBold" panose="020B0004020202020204" pitchFamily="34" charset="0"/>
              </a:rPr>
              <a:t>CHALLENGE</a:t>
            </a:r>
          </a:p>
          <a:p>
            <a:pPr algn="just"/>
            <a:r>
              <a:rPr lang="en-US" sz="2800" dirty="0">
                <a:solidFill>
                  <a:srgbClr val="FF0000"/>
                </a:solidFill>
                <a:latin typeface="Aptos ExtraBold" panose="020B0004020202020204" pitchFamily="34" charset="0"/>
              </a:rPr>
              <a:t>VS </a:t>
            </a:r>
            <a:endParaRPr lang="en-US" sz="2800" dirty="0">
              <a:solidFill>
                <a:srgbClr val="002060"/>
              </a:solidFill>
              <a:latin typeface="Aptos ExtraBold" panose="020B0004020202020204" pitchFamily="34" charset="0"/>
            </a:endParaRPr>
          </a:p>
          <a:p>
            <a:pPr algn="just"/>
            <a:r>
              <a:rPr lang="en-US" sz="2800" dirty="0">
                <a:solidFill>
                  <a:srgbClr val="002060"/>
                </a:solidFill>
                <a:latin typeface="Aptos ExtraBold" panose="020B0004020202020204" pitchFamily="34" charset="0"/>
              </a:rPr>
              <a:t>OPPORTUNITY</a:t>
            </a:r>
          </a:p>
          <a:p>
            <a:pPr marL="0" indent="0" algn="just"/>
            <a:r>
              <a:rPr lang="en-US" sz="2800" dirty="0">
                <a:solidFill>
                  <a:srgbClr val="0070C0"/>
                </a:solidFill>
                <a:latin typeface="Aptos ExtraBold" panose="020B0004020202020204" pitchFamily="34" charset="0"/>
              </a:rPr>
              <a:t>? PARALLEL FINANCING </a:t>
            </a:r>
          </a:p>
          <a:p>
            <a:pPr marL="0" indent="0" algn="just"/>
            <a:r>
              <a:rPr lang="en-US" sz="2800" dirty="0">
                <a:solidFill>
                  <a:srgbClr val="0070C0"/>
                </a:solidFill>
                <a:latin typeface="Aptos ExtraBold" panose="020B0004020202020204" pitchFamily="34" charset="0"/>
              </a:rPr>
              <a:t>VS </a:t>
            </a:r>
          </a:p>
          <a:p>
            <a:pPr marL="0" indent="0" algn="just"/>
            <a:r>
              <a:rPr lang="en-US" sz="2800" dirty="0">
                <a:solidFill>
                  <a:srgbClr val="0070C0"/>
                </a:solidFill>
                <a:latin typeface="Aptos ExtraBold" panose="020B0004020202020204" pitchFamily="34" charset="0"/>
              </a:rPr>
              <a:t>? CO-FINANCING</a:t>
            </a:r>
          </a:p>
          <a:p>
            <a:endParaRPr lang="en-US" dirty="0"/>
          </a:p>
        </p:txBody>
      </p:sp>
      <p:pic>
        <p:nvPicPr>
          <p:cNvPr id="5" name="Content Placeholder 4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E344306D-34AD-216A-956B-429DAA59677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910667" y="983838"/>
            <a:ext cx="6942667" cy="4904344"/>
          </a:xfrm>
          <a:noFill/>
        </p:spPr>
      </p:pic>
    </p:spTree>
    <p:extLst>
      <p:ext uri="{BB962C8B-B14F-4D97-AF65-F5344CB8AC3E}">
        <p14:creationId xmlns:p14="http://schemas.microsoft.com/office/powerpoint/2010/main" val="20000305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tanding in a room">
            <a:extLst>
              <a:ext uri="{FF2B5EF4-FFF2-40B4-BE49-F238E27FC236}">
                <a16:creationId xmlns:a16="http://schemas.microsoft.com/office/drawing/2014/main" id="{253B2A3E-8ECD-0E32-6890-74CF78F4A64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12" y="997858"/>
            <a:ext cx="4014520" cy="4924960"/>
          </a:xfrm>
          <a:prstGeom prst="rect">
            <a:avLst/>
          </a:prstGeom>
          <a:noFill/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7F45D0C-CA7E-07B0-2711-CA43E1DD1C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527" y="2743200"/>
            <a:ext cx="7268808" cy="1766170"/>
          </a:xfrm>
        </p:spPr>
        <p:txBody>
          <a:bodyPr/>
          <a:lstStyle/>
          <a:p>
            <a:pPr algn="just"/>
            <a:r>
              <a:rPr lang="en-US" sz="3200" dirty="0">
                <a:solidFill>
                  <a:srgbClr val="002060"/>
                </a:solidFill>
                <a:latin typeface="Aptos ExtraBold" panose="020B0004020202020204" pitchFamily="34" charset="0"/>
              </a:rPr>
              <a:t>#10:{CHALLENGE}</a:t>
            </a:r>
          </a:p>
          <a:p>
            <a:pPr algn="just"/>
            <a:r>
              <a:rPr lang="en-US" sz="3200" dirty="0">
                <a:solidFill>
                  <a:srgbClr val="FF0000"/>
                </a:solidFill>
                <a:latin typeface="Aptos ExtraBold" panose="020B0004020202020204" pitchFamily="34" charset="0"/>
              </a:rPr>
              <a:t>PUBLIC FINANCIAL MANAGEMENT</a:t>
            </a:r>
          </a:p>
          <a:p>
            <a:pPr algn="just"/>
            <a:r>
              <a:rPr lang="en-US" sz="3200" dirty="0">
                <a:solidFill>
                  <a:srgbClr val="FF0000"/>
                </a:solidFill>
                <a:latin typeface="Aptos ExtraBold" panose="020B0004020202020204" pitchFamily="34" charset="0"/>
              </a:rPr>
              <a:t>Reporting requirements</a:t>
            </a:r>
          </a:p>
          <a:p>
            <a:pPr algn="just"/>
            <a:r>
              <a:rPr lang="en-US" sz="3200" dirty="0">
                <a:solidFill>
                  <a:srgbClr val="FF0000"/>
                </a:solidFill>
                <a:latin typeface="Aptos ExtraBold" panose="020B0004020202020204" pitchFamily="34" charset="0"/>
              </a:rPr>
              <a:t>? GON systems including audits</a:t>
            </a:r>
          </a:p>
          <a:p>
            <a:pPr algn="just"/>
            <a:r>
              <a:rPr lang="en-US" sz="3200" dirty="0">
                <a:solidFill>
                  <a:srgbClr val="FF0000"/>
                </a:solidFill>
                <a:latin typeface="Aptos ExtraBold" panose="020B0004020202020204" pitchFamily="34" charset="0"/>
              </a:rPr>
              <a:t>? DP reporting requirements </a:t>
            </a:r>
          </a:p>
          <a:p>
            <a:pPr marL="0" indent="0" algn="just"/>
            <a:endParaRPr lang="en-US" sz="3200" dirty="0">
              <a:solidFill>
                <a:srgbClr val="0070C0"/>
              </a:solidFill>
              <a:latin typeface="Aptos ExtraBold" panose="020B00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631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68CA652-75F3-46FC-AC6A-DF267E5F07C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102" y="2968668"/>
            <a:ext cx="4985358" cy="2041743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C075777-06BA-53C1-31D1-19A7207528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716" y="609341"/>
            <a:ext cx="6346600" cy="5403151"/>
          </a:xfrm>
          <a:prstGeom prst="rect">
            <a:avLst/>
          </a:prstGeom>
          <a:noFill/>
        </p:spPr>
      </p:pic>
      <p:sp>
        <p:nvSpPr>
          <p:cNvPr id="6" name="2. Slide Title">
            <a:extLst>
              <a:ext uri="{FF2B5EF4-FFF2-40B4-BE49-F238E27FC236}">
                <a16:creationId xmlns:a16="http://schemas.microsoft.com/office/drawing/2014/main" id="{A055584C-2FA1-90D3-41F1-0190A6BCF61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27102" y="328025"/>
            <a:ext cx="4622182" cy="95410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chemeClr val="accent6">
                    <a:lumMod val="50000"/>
                  </a:schemeClr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5pPr>
            <a:lvl6pPr marL="457211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23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35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46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539750"/>
            <a:r>
              <a:rPr lang="en-US" sz="2800" kern="0" dirty="0">
                <a:solidFill>
                  <a:srgbClr val="002060"/>
                </a:solidFill>
              </a:rPr>
              <a:t>2014: NHACT WAS SIGNED INTO LAW.</a:t>
            </a:r>
          </a:p>
        </p:txBody>
      </p:sp>
    </p:spTree>
    <p:extLst>
      <p:ext uri="{BB962C8B-B14F-4D97-AF65-F5344CB8AC3E}">
        <p14:creationId xmlns:p14="http://schemas.microsoft.com/office/powerpoint/2010/main" val="27375513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D5F2C-A698-20CE-486B-FEC208CE6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7181"/>
            <a:ext cx="11149208" cy="1205531"/>
          </a:xfrm>
        </p:spPr>
        <p:txBody>
          <a:bodyPr>
            <a:normAutofit fontScale="90000"/>
          </a:bodyPr>
          <a:lstStyle/>
          <a:p>
            <a:pPr algn="just"/>
            <a:r>
              <a:rPr lang="en-US" sz="4000" b="1" dirty="0">
                <a:solidFill>
                  <a:srgbClr val="002060"/>
                </a:solidFill>
                <a:latin typeface="Aptos ExtraBold" panose="020B0004020202020204" pitchFamily="34" charset="0"/>
              </a:rPr>
              <a:t>NIGERIA: SUMMARY OF HEALTH SECTOR ALIGNMENT AND MATURITY LEVE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D17438-F5BD-7526-CBCE-92B8D9D5C8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dirty="0">
                <a:latin typeface="Arial"/>
                <a:ea typeface="Calibri"/>
                <a:cs typeface="Arial"/>
              </a:rPr>
              <a:t>   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71CCD70-89AA-0ED3-3496-D7625EA54E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33956"/>
              </p:ext>
            </p:extLst>
          </p:nvPr>
        </p:nvGraphicFramePr>
        <p:xfrm>
          <a:off x="724196" y="1432193"/>
          <a:ext cx="10812274" cy="334949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05529">
                  <a:extLst>
                    <a:ext uri="{9D8B030D-6E8A-4147-A177-3AD203B41FA5}">
                      <a16:colId xmlns:a16="http://schemas.microsoft.com/office/drawing/2014/main" val="408605264"/>
                    </a:ext>
                  </a:extLst>
                </a:gridCol>
                <a:gridCol w="1139568">
                  <a:extLst>
                    <a:ext uri="{9D8B030D-6E8A-4147-A177-3AD203B41FA5}">
                      <a16:colId xmlns:a16="http://schemas.microsoft.com/office/drawing/2014/main" val="488704088"/>
                    </a:ext>
                  </a:extLst>
                </a:gridCol>
                <a:gridCol w="1427967">
                  <a:extLst>
                    <a:ext uri="{9D8B030D-6E8A-4147-A177-3AD203B41FA5}">
                      <a16:colId xmlns:a16="http://schemas.microsoft.com/office/drawing/2014/main" val="151055749"/>
                    </a:ext>
                  </a:extLst>
                </a:gridCol>
                <a:gridCol w="1114817">
                  <a:extLst>
                    <a:ext uri="{9D8B030D-6E8A-4147-A177-3AD203B41FA5}">
                      <a16:colId xmlns:a16="http://schemas.microsoft.com/office/drawing/2014/main" val="4100890517"/>
                    </a:ext>
                  </a:extLst>
                </a:gridCol>
                <a:gridCol w="1365337">
                  <a:extLst>
                    <a:ext uri="{9D8B030D-6E8A-4147-A177-3AD203B41FA5}">
                      <a16:colId xmlns:a16="http://schemas.microsoft.com/office/drawing/2014/main" val="49810750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64889774"/>
                    </a:ext>
                  </a:extLst>
                </a:gridCol>
                <a:gridCol w="1266664">
                  <a:extLst>
                    <a:ext uri="{9D8B030D-6E8A-4147-A177-3AD203B41FA5}">
                      <a16:colId xmlns:a16="http://schemas.microsoft.com/office/drawing/2014/main" val="2523653840"/>
                    </a:ext>
                  </a:extLst>
                </a:gridCol>
                <a:gridCol w="1263592">
                  <a:extLst>
                    <a:ext uri="{9D8B030D-6E8A-4147-A177-3AD203B41FA5}">
                      <a16:colId xmlns:a16="http://schemas.microsoft.com/office/drawing/2014/main" val="108969833"/>
                    </a:ext>
                  </a:extLst>
                </a:gridCol>
              </a:tblGrid>
              <a:tr h="389619">
                <a:tc gridSpan="8"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endParaRPr lang="en-US" sz="1800" b="1" i="0" dirty="0">
                        <a:solidFill>
                          <a:srgbClr val="002060"/>
                        </a:solidFill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7587854"/>
                  </a:ext>
                </a:extLst>
              </a:tr>
              <a:tr h="389619"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ALIGNMENT DOMAINS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RATING BY STAKEHOLDERS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AV STAKEHOLDER’ </a:t>
                      </a:r>
                    </a:p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RATING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WEIGHT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AVERAGE RATING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134464"/>
                  </a:ext>
                </a:extLst>
              </a:tr>
              <a:tr h="3896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DPS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PUBLIC SECTOR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  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061208"/>
                  </a:ext>
                </a:extLst>
              </a:tr>
              <a:tr h="4177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rPr>
                        <a:t>GOVT </a:t>
                      </a:r>
                      <a:endParaRPr lang="en-US" sz="1800" b="1" i="0" dirty="0"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rPr>
                        <a:t>MDAS </a:t>
                      </a:r>
                      <a:endParaRPr lang="en-US" sz="1800" b="1" i="0" dirty="0">
                        <a:effectLst/>
                        <a:latin typeface="Aptos ExtraBold" panose="020B0004020202020204" pitchFamily="34" charset="0"/>
                      </a:endParaRP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ptos ExtraBold" panose="020B0004020202020204" pitchFamily="34" charset="0"/>
                        </a:rPr>
                        <a:t>CSOS &amp; PS</a:t>
                      </a:r>
                    </a:p>
                  </a:txBody>
                  <a:tcPr marL="66675" marR="6667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1428055"/>
                  </a:ext>
                </a:extLst>
              </a:tr>
              <a:tr h="38961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One- Plan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2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4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3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2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5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0.79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931989"/>
                  </a:ext>
                </a:extLst>
              </a:tr>
              <a:tr h="464812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One-Budget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5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3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1.9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7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40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1.07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193413"/>
                  </a:ext>
                </a:extLst>
              </a:tr>
              <a:tr h="38961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One-Report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4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.1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1.4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5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35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0.87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0606430"/>
                  </a:ext>
                </a:extLst>
              </a:tr>
              <a:tr h="464812">
                <a:tc gridSpan="5"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2060"/>
                          </a:solidFill>
                          <a:effectLst/>
                          <a:latin typeface="Aptos ExtraBold" panose="020B0004020202020204" pitchFamily="34" charset="0"/>
                        </a:rPr>
                        <a:t>Nigeria's Alignment Maturity Level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effectLst/>
                          <a:latin typeface="Aptos ExtraBold" panose="020B0004020202020204" pitchFamily="34" charset="0"/>
                        </a:rPr>
                        <a:t>-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>
                          <a:effectLst/>
                          <a:latin typeface="Aptos ExtraBold" panose="020B0004020202020204" pitchFamily="34" charset="0"/>
                        </a:rPr>
                        <a:t>100%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ase">
                        <a:lnSpc>
                          <a:spcPts val="1275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0070C0"/>
                          </a:solidFill>
                          <a:effectLst/>
                          <a:latin typeface="Aptos ExtraBold" panose="020B0004020202020204" pitchFamily="34" charset="0"/>
                        </a:rPr>
                        <a:t>2.73/5.0 </a:t>
                      </a:r>
                    </a:p>
                  </a:txBody>
                  <a:tcPr marL="66675" marR="666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22788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6086026-9EC6-02DE-406B-340B534E07E0}"/>
              </a:ext>
            </a:extLst>
          </p:cNvPr>
          <p:cNvSpPr txBox="1"/>
          <p:nvPr/>
        </p:nvSpPr>
        <p:spPr>
          <a:xfrm>
            <a:off x="815228" y="5075916"/>
            <a:ext cx="10721242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sz="1600" b="1" dirty="0">
                <a:solidFill>
                  <a:srgbClr val="0070C0"/>
                </a:solidFill>
                <a:latin typeface="Aptos" panose="020B0004020202020204" pitchFamily="34" charset="0"/>
              </a:rPr>
              <a:t>The maturity rating of 2.73 on a 5-point scale indicating systems are still largely ad hoc and require better partnership to enable all stakeholders collaborate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dirty="0">
                <a:solidFill>
                  <a:srgbClr val="0070C0"/>
                </a:solidFill>
                <a:latin typeface="Aptos" panose="020B0004020202020204" pitchFamily="34" charset="0"/>
                <a:cs typeface="Segoe UI"/>
              </a:rPr>
              <a:t>The government and parastatal scores were very comparable when looked at in relation to other stakeholder categories.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dirty="0">
                <a:solidFill>
                  <a:srgbClr val="0070C0"/>
                </a:solidFill>
                <a:latin typeface="Aptos" panose="020B0004020202020204" pitchFamily="34" charset="0"/>
                <a:cs typeface="Segoe UI"/>
              </a:rPr>
              <a:t>The lowest ratings were recorded from the CSO and private sector categories</a:t>
            </a:r>
            <a:endParaRPr lang="en-US" sz="1600" b="1" dirty="0">
              <a:solidFill>
                <a:srgbClr val="0070C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5907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48407-2054-4EFE-61EC-E999E4943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927A1A-11C2-0A24-9C6C-1932C63119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1325AFF-079F-A168-C93F-6F15B8D60B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CA0D74-BA4B-E7C1-4987-F4D420082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70" y="338062"/>
            <a:ext cx="11204294" cy="5406551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9F762A5-0E9D-A350-1A6F-568B67431821}"/>
              </a:ext>
            </a:extLst>
          </p:cNvPr>
          <p:cNvSpPr/>
          <p:nvPr/>
        </p:nvSpPr>
        <p:spPr bwMode="auto">
          <a:xfrm>
            <a:off x="3369501" y="2868459"/>
            <a:ext cx="8288640" cy="1327759"/>
          </a:xfrm>
          <a:prstGeom prst="roundRect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A98137F-B252-22F8-B6B5-DF3458894909}"/>
              </a:ext>
            </a:extLst>
          </p:cNvPr>
          <p:cNvSpPr/>
          <p:nvPr/>
        </p:nvSpPr>
        <p:spPr bwMode="auto">
          <a:xfrm>
            <a:off x="3369501" y="4353995"/>
            <a:ext cx="8288639" cy="1327758"/>
          </a:xfrm>
          <a:prstGeom prst="roundRect">
            <a:avLst/>
          </a:prstGeom>
          <a:noFill/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8CF0ECC-B9A4-FDE0-82A5-C01CAE3FBE71}"/>
              </a:ext>
            </a:extLst>
          </p:cNvPr>
          <p:cNvSpPr/>
          <p:nvPr/>
        </p:nvSpPr>
        <p:spPr bwMode="auto">
          <a:xfrm>
            <a:off x="1590805" y="5047989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14EAC7B-763D-3C03-EBC5-FF38B5A2E438}"/>
              </a:ext>
            </a:extLst>
          </p:cNvPr>
          <p:cNvSpPr/>
          <p:nvPr/>
        </p:nvSpPr>
        <p:spPr bwMode="auto">
          <a:xfrm>
            <a:off x="839244" y="4860099"/>
            <a:ext cx="1352811" cy="821654"/>
          </a:xfrm>
          <a:prstGeom prst="roundRect">
            <a:avLst/>
          </a:prstGeom>
          <a:noFill/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/>
                <a:ea typeface="+mn-ea"/>
                <a:cs typeface="Times New Roman" pitchFamily="18" charset="0"/>
              </a:rPr>
              <a:t>BEMONC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E585B9-D577-23D2-4D44-C246015BDBA0}"/>
              </a:ext>
            </a:extLst>
          </p:cNvPr>
          <p:cNvSpPr/>
          <p:nvPr/>
        </p:nvSpPr>
        <p:spPr bwMode="auto">
          <a:xfrm>
            <a:off x="839244" y="3429000"/>
            <a:ext cx="1352811" cy="629433"/>
          </a:xfrm>
          <a:prstGeom prst="roundRect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/>
                <a:ea typeface="+mn-ea"/>
                <a:cs typeface="Times New Roman" pitchFamily="18" charset="0"/>
              </a:rPr>
              <a:t>CEMONC</a:t>
            </a:r>
          </a:p>
        </p:txBody>
      </p:sp>
    </p:spTree>
    <p:extLst>
      <p:ext uri="{BB962C8B-B14F-4D97-AF65-F5344CB8AC3E}">
        <p14:creationId xmlns:p14="http://schemas.microsoft.com/office/powerpoint/2010/main" val="4030902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BB275ED-96BF-7F74-D890-ECC04321B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r>
              <a:rPr lang="en-US" sz="2800" b="1" dirty="0">
                <a:solidFill>
                  <a:srgbClr val="002060"/>
                </a:solidFill>
              </a:rPr>
              <a:t>2015: WB FINANCED SOML PFOR APPROVED  </a:t>
            </a:r>
          </a:p>
        </p:txBody>
      </p:sp>
      <p:pic>
        <p:nvPicPr>
          <p:cNvPr id="5" name="Content Placeholder 4" descr="A group of people standing on stairs holding a large sign&#10;&#10;AI-generated content may be incorrect.">
            <a:extLst>
              <a:ext uri="{FF2B5EF4-FFF2-40B4-BE49-F238E27FC236}">
                <a16:creationId xmlns:a16="http://schemas.microsoft.com/office/drawing/2014/main" id="{9AAD1592-E4C8-25D7-1658-DA1D5A51E36E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738" y="941388"/>
            <a:ext cx="11428412" cy="4545012"/>
          </a:xfrm>
          <a:noFill/>
        </p:spPr>
      </p:pic>
    </p:spTree>
    <p:extLst>
      <p:ext uri="{BB962C8B-B14F-4D97-AF65-F5344CB8AC3E}">
        <p14:creationId xmlns:p14="http://schemas.microsoft.com/office/powerpoint/2010/main" val="3697523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A9514-0681-8CA8-EAB9-DB6C5FAD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074884D-F4EF-27CE-2CFE-FE93C1FBE70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102" y="2968668"/>
            <a:ext cx="4985358" cy="2041743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FCB233-2E5A-C610-E2A2-3D266D7965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716" y="609341"/>
            <a:ext cx="6346600" cy="5403151"/>
          </a:xfrm>
          <a:prstGeom prst="rect">
            <a:avLst/>
          </a:prstGeom>
          <a:noFill/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2EBA8A3-BFE8-1FF8-1E32-88909126E2B9}"/>
              </a:ext>
            </a:extLst>
          </p:cNvPr>
          <p:cNvSpPr/>
          <p:nvPr/>
        </p:nvSpPr>
        <p:spPr bwMode="auto">
          <a:xfrm>
            <a:off x="7027102" y="3331923"/>
            <a:ext cx="4121062" cy="1678488"/>
          </a:xfrm>
          <a:prstGeom prst="ellipse">
            <a:avLst/>
          </a:prstGeom>
          <a:noFill/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93623F6-314C-11ED-96B7-EA69B70C4D7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27102" y="328025"/>
            <a:ext cx="4622182" cy="138499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chemeClr val="accent6">
                    <a:lumMod val="50000"/>
                  </a:schemeClr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71">
                <a:solidFill>
                  <a:srgbClr val="002060"/>
                </a:solidFill>
                <a:latin typeface="Arial Bold" charset="0"/>
                <a:ea typeface="MS PGothic" pitchFamily="34" charset="-128"/>
              </a:defRPr>
            </a:lvl5pPr>
            <a:lvl6pPr marL="457211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23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35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46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539750"/>
            <a:r>
              <a:rPr lang="en-US" sz="2800" kern="0" dirty="0">
                <a:solidFill>
                  <a:srgbClr val="002060"/>
                </a:solidFill>
              </a:rPr>
              <a:t>2018: NHACT IMPLEMENTATION COMMENCED</a:t>
            </a:r>
          </a:p>
        </p:txBody>
      </p:sp>
    </p:spTree>
    <p:extLst>
      <p:ext uri="{BB962C8B-B14F-4D97-AF65-F5344CB8AC3E}">
        <p14:creationId xmlns:p14="http://schemas.microsoft.com/office/powerpoint/2010/main" val="2854675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3">
            <a:extLst>
              <a:ext uri="{FF2B5EF4-FFF2-40B4-BE49-F238E27FC236}">
                <a16:creationId xmlns:a16="http://schemas.microsoft.com/office/drawing/2014/main" id="{1E877C65-4A85-CE19-213F-DEC06EFB30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0885"/>
            <a:ext cx="12192000" cy="687665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482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stination, Universal Health Coverage for all Nigerians: Can a Sector-Wide  Approach Get Us There? - Nigeria Health Watch">
            <a:extLst>
              <a:ext uri="{FF2B5EF4-FFF2-40B4-BE49-F238E27FC236}">
                <a16:creationId xmlns:a16="http://schemas.microsoft.com/office/drawing/2014/main" id="{CED85758-9682-E6E6-B0A9-5BFD159D46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985" y="1349828"/>
            <a:ext cx="10965315" cy="4571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82D5F2A-8658-1086-CBA8-1BA0E91207A2}"/>
              </a:ext>
            </a:extLst>
          </p:cNvPr>
          <p:cNvSpPr/>
          <p:nvPr/>
        </p:nvSpPr>
        <p:spPr>
          <a:xfrm>
            <a:off x="612986" y="5161018"/>
            <a:ext cx="2721230" cy="1473958"/>
          </a:xfrm>
          <a:prstGeom prst="rect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647E75-BF09-4F4B-594D-BFDC7B38E5D2}"/>
              </a:ext>
            </a:extLst>
          </p:cNvPr>
          <p:cNvSpPr/>
          <p:nvPr/>
        </p:nvSpPr>
        <p:spPr>
          <a:xfrm>
            <a:off x="3334215" y="5161018"/>
            <a:ext cx="2243614" cy="1473958"/>
          </a:xfrm>
          <a:prstGeom prst="rect">
            <a:avLst/>
          </a:prstGeom>
          <a:solidFill>
            <a:srgbClr val="016C2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4F8B328B-C979-F7E4-BDEB-30AD41D4FB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4F8B328B-C979-F7E4-BDEB-30AD41D4FB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166606A3-8BDF-F603-02BC-B966DF0494C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378" y="57166"/>
            <a:ext cx="11082528" cy="12926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539750"/>
            <a:r>
              <a:rPr lang="en-US" sz="2800" dirty="0">
                <a:solidFill>
                  <a:srgbClr val="002060"/>
                </a:solidFill>
              </a:rPr>
              <a:t>2023: SWAP COMPACT  WAS SIGNED BETWEEN FEDERAL AND STATE GOVERNMENTS AND DPS TO IMPROVE HEALTH OUTCOM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7250A7-230E-C469-8BBD-D08A67695FBF}"/>
              </a:ext>
            </a:extLst>
          </p:cNvPr>
          <p:cNvSpPr txBox="1"/>
          <p:nvPr/>
        </p:nvSpPr>
        <p:spPr>
          <a:xfrm>
            <a:off x="769366" y="5313221"/>
            <a:ext cx="2564849" cy="120032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MMITTING to the redesign of the Basic Health Care Provision Fund, comprising at least 1% of the Consolidated Revenue Fund, provided by the National Health Act (2014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93FD82-964A-4961-961F-B7025A559C86}"/>
              </a:ext>
            </a:extLst>
          </p:cNvPr>
          <p:cNvSpPr txBox="1"/>
          <p:nvPr/>
        </p:nvSpPr>
        <p:spPr>
          <a:xfrm>
            <a:off x="3432887" y="5313220"/>
            <a:ext cx="2243614" cy="120032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MMITTING all State Governments and FCT to complement the Federal Government by undertaking the following key policy actions</a:t>
            </a:r>
          </a:p>
        </p:txBody>
      </p:sp>
    </p:spTree>
    <p:extLst>
      <p:ext uri="{BB962C8B-B14F-4D97-AF65-F5344CB8AC3E}">
        <p14:creationId xmlns:p14="http://schemas.microsoft.com/office/powerpoint/2010/main" val="3248589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B24BE-EB81-63EE-CCF0-0252796CA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</a:rPr>
              <a:t>2024: LAUNCH OF MAAMI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BD7DC7A-FCE2-0CFB-115B-FE4034F917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7514" y="914400"/>
            <a:ext cx="7151915" cy="5377543"/>
          </a:xfrm>
        </p:spPr>
      </p:pic>
    </p:spTree>
    <p:extLst>
      <p:ext uri="{BB962C8B-B14F-4D97-AF65-F5344CB8AC3E}">
        <p14:creationId xmlns:p14="http://schemas.microsoft.com/office/powerpoint/2010/main" val="1774326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8C7B825-0AC6-C754-012B-8C9D9D978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97" y="274544"/>
            <a:ext cx="10812275" cy="430887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</a:rPr>
              <a:t>2024: LAUNCH OF THE STATE OF HEALTH OF THE NATION</a:t>
            </a:r>
          </a:p>
        </p:txBody>
      </p:sp>
      <p:pic>
        <p:nvPicPr>
          <p:cNvPr id="4" name="Content Placeholder 3" descr="A group of people holding books&#10;&#10;AI-generated content may be incorrect.">
            <a:extLst>
              <a:ext uri="{FF2B5EF4-FFF2-40B4-BE49-F238E27FC236}">
                <a16:creationId xmlns:a16="http://schemas.microsoft.com/office/drawing/2014/main" id="{E248FEE0-B8BD-FFF2-E361-A91EAB0CAE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4497" y="1636059"/>
            <a:ext cx="10812275" cy="41139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7453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6543107-8EC8-65E8-61B5-053A028DF12A}"/>
              </a:ext>
            </a:extLst>
          </p:cNvPr>
          <p:cNvSpPr txBox="1"/>
          <p:nvPr/>
        </p:nvSpPr>
        <p:spPr>
          <a:xfrm rot="10800000" flipV="1">
            <a:off x="551145" y="3767554"/>
            <a:ext cx="1144878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4400" b="1" dirty="0">
                <a:solidFill>
                  <a:srgbClr val="002060"/>
                </a:solidFill>
                <a:latin typeface="Aptos ExtraBold" panose="020B0004020202020204" pitchFamily="34" charset="0"/>
              </a:rPr>
              <a:t>WHAT HAVE WE LEARNT ?</a:t>
            </a:r>
          </a:p>
          <a:p>
            <a:pPr algn="just"/>
            <a:r>
              <a:rPr lang="en-US" sz="4400" b="1" dirty="0">
                <a:solidFill>
                  <a:srgbClr val="0070C0"/>
                </a:solidFill>
                <a:latin typeface="Aptos ExtraBold" panose="020B0004020202020204" pitchFamily="34" charset="0"/>
              </a:rPr>
              <a:t>LESSONS,OPPORTUNTIES,CHALLENGES </a:t>
            </a:r>
          </a:p>
        </p:txBody>
      </p:sp>
    </p:spTree>
    <p:extLst>
      <p:ext uri="{BB962C8B-B14F-4D97-AF65-F5344CB8AC3E}">
        <p14:creationId xmlns:p14="http://schemas.microsoft.com/office/powerpoint/2010/main" val="682729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heme/theme1.xml><?xml version="1.0" encoding="utf-8"?>
<a:theme xmlns:a="http://schemas.openxmlformats.org/drawingml/2006/main" name="afghanistan-brande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406-Mini_NDU-v2" id="{70FE17CC-33C0-4906-9FF1-BF0C31D7FC72}" vid="{70072FCE-9C6F-4800-B1AA-7C859EF3EC8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ed46340-9958-4cdf-94eb-2e05d6c6637f">
      <Terms xmlns="http://schemas.microsoft.com/office/infopath/2007/PartnerControls"/>
    </lcf76f155ced4ddcb4097134ff3c332f>
    <TaxCatchAll xmlns="3e02667f-0271-471b-bd6e-11a2e16def1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9FCE9BF927064F98C42DD76ED49955" ma:contentTypeVersion="17" ma:contentTypeDescription="Create a new document." ma:contentTypeScope="" ma:versionID="821203b5a2c1108ef73cc7c8fe8b5e42">
  <xsd:schema xmlns:xsd="http://www.w3.org/2001/XMLSchema" xmlns:xs="http://www.w3.org/2001/XMLSchema" xmlns:p="http://schemas.microsoft.com/office/2006/metadata/properties" xmlns:ns2="0ed46340-9958-4cdf-94eb-2e05d6c6637f" xmlns:ns3="d3398ae2-713c-4198-a379-dac4c3dee16e" xmlns:ns4="3e02667f-0271-471b-bd6e-11a2e16def1d" targetNamespace="http://schemas.microsoft.com/office/2006/metadata/properties" ma:root="true" ma:fieldsID="187a8486dcf18589f17aad2a4b9fe1e7" ns2:_="" ns3:_="" ns4:_="">
    <xsd:import namespace="0ed46340-9958-4cdf-94eb-2e05d6c6637f"/>
    <xsd:import namespace="d3398ae2-713c-4198-a379-dac4c3dee16e"/>
    <xsd:import namespace="3e02667f-0271-471b-bd6e-11a2e16de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46340-9958-4cdf-94eb-2e05d6c663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a6c10d7-b926-4fc0-945e-3cbf5049f6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398ae2-713c-4198-a379-dac4c3dee16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02667f-0271-471b-bd6e-11a2e16def1d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01cea393-cc03-460b-a050-890144b27938}" ma:internalName="TaxCatchAll" ma:showField="CatchAllData" ma:web="d3398ae2-713c-4198-a379-dac4c3dee1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F8CCAF-CF61-41F2-9016-22DBA712C7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B5AB4E-C0BC-41F5-919E-2095EA6879E1}">
  <ds:schemaRefs>
    <ds:schemaRef ds:uri="http://schemas.microsoft.com/office/2006/metadata/properties"/>
    <ds:schemaRef ds:uri="http://schemas.microsoft.com/office/infopath/2007/PartnerControls"/>
    <ds:schemaRef ds:uri="0ed46340-9958-4cdf-94eb-2e05d6c6637f"/>
    <ds:schemaRef ds:uri="3e02667f-0271-471b-bd6e-11a2e16def1d"/>
  </ds:schemaRefs>
</ds:datastoreItem>
</file>

<file path=customXml/itemProps3.xml><?xml version="1.0" encoding="utf-8"?>
<ds:datastoreItem xmlns:ds="http://schemas.openxmlformats.org/officeDocument/2006/customXml" ds:itemID="{0387C571-0E22-4931-8F54-A414097C4B7B}"/>
</file>

<file path=docProps/app.xml><?xml version="1.0" encoding="utf-8"?>
<Properties xmlns="http://schemas.openxmlformats.org/officeDocument/2006/extended-properties" xmlns:vt="http://schemas.openxmlformats.org/officeDocument/2006/docPropsVTypes">
  <TotalTime>1705</TotalTime>
  <Words>609</Words>
  <Application>Microsoft Office PowerPoint</Application>
  <PresentationFormat>Widescreen</PresentationFormat>
  <Paragraphs>116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ptos</vt:lpstr>
      <vt:lpstr>Aptos ExtraBold</vt:lpstr>
      <vt:lpstr>Arial</vt:lpstr>
      <vt:lpstr>Arial Bold</vt:lpstr>
      <vt:lpstr>Calibri</vt:lpstr>
      <vt:lpstr>Century Gothic</vt:lpstr>
      <vt:lpstr>Georgia</vt:lpstr>
      <vt:lpstr>Times New Roman</vt:lpstr>
      <vt:lpstr>Trebuchet MS</vt:lpstr>
      <vt:lpstr>Wingdings</vt:lpstr>
      <vt:lpstr>afghanistan-branded</vt:lpstr>
      <vt:lpstr>think-cell Slide</vt:lpstr>
      <vt:lpstr>PowerPoint Presentation</vt:lpstr>
      <vt:lpstr>PowerPoint Presentation</vt:lpstr>
      <vt:lpstr>2015: WB FINANCED SOML PFOR APPROVED  </vt:lpstr>
      <vt:lpstr>PowerPoint Presentation</vt:lpstr>
      <vt:lpstr>PowerPoint Presentation</vt:lpstr>
      <vt:lpstr>2023: SWAP COMPACT  WAS SIGNED BETWEEN FEDERAL AND STATE GOVERNMENTS AND DPS TO IMPROVE HEALTH OUTCOMES</vt:lpstr>
      <vt:lpstr>2024: LAUNCH OF MAAMI </vt:lpstr>
      <vt:lpstr>2024: LAUNCH OF THE STATE OF HEALTH OF THE N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IGERIA: SUMMARY OF HEALTH SECTOR ALIGNMENT AND MATURITY LEVEL MODEL</vt:lpstr>
      <vt:lpstr>PowerPoint Presentation</vt:lpstr>
    </vt:vector>
  </TitlesOfParts>
  <Company>WB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lumide Olaolu Okunola</dc:creator>
  <cp:lastModifiedBy>Pascal Franck Hildebert</cp:lastModifiedBy>
  <cp:revision>1</cp:revision>
  <dcterms:created xsi:type="dcterms:W3CDTF">2025-04-06T15:04:53Z</dcterms:created>
  <dcterms:modified xsi:type="dcterms:W3CDTF">2025-05-14T14:3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9FCE9BF927064F98C42DD76ED49955</vt:lpwstr>
  </property>
  <property fmtid="{D5CDD505-2E9C-101B-9397-08002B2CF9AE}" pid="3" name="MediaServiceImageTags">
    <vt:lpwstr/>
  </property>
</Properties>
</file>